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2" r:id="rId1"/>
  </p:sldMasterIdLst>
  <p:notesMasterIdLst>
    <p:notesMasterId r:id="rId85"/>
  </p:notesMasterIdLst>
  <p:handoutMasterIdLst>
    <p:handoutMasterId r:id="rId86"/>
  </p:handoutMasterIdLst>
  <p:sldIdLst>
    <p:sldId id="534" r:id="rId2"/>
    <p:sldId id="537" r:id="rId3"/>
    <p:sldId id="538" r:id="rId4"/>
    <p:sldId id="619" r:id="rId5"/>
    <p:sldId id="540" r:id="rId6"/>
    <p:sldId id="541" r:id="rId7"/>
    <p:sldId id="542" r:id="rId8"/>
    <p:sldId id="547" r:id="rId9"/>
    <p:sldId id="548" r:id="rId10"/>
    <p:sldId id="609" r:id="rId11"/>
    <p:sldId id="610" r:id="rId12"/>
    <p:sldId id="549" r:id="rId13"/>
    <p:sldId id="550" r:id="rId14"/>
    <p:sldId id="546" r:id="rId15"/>
    <p:sldId id="553" r:id="rId16"/>
    <p:sldId id="555" r:id="rId17"/>
    <p:sldId id="556" r:id="rId18"/>
    <p:sldId id="557" r:id="rId19"/>
    <p:sldId id="558" r:id="rId20"/>
    <p:sldId id="559" r:id="rId21"/>
    <p:sldId id="554" r:id="rId22"/>
    <p:sldId id="560" r:id="rId23"/>
    <p:sldId id="561" r:id="rId24"/>
    <p:sldId id="562" r:id="rId25"/>
    <p:sldId id="563" r:id="rId26"/>
    <p:sldId id="617" r:id="rId27"/>
    <p:sldId id="565" r:id="rId28"/>
    <p:sldId id="564" r:id="rId29"/>
    <p:sldId id="569" r:id="rId30"/>
    <p:sldId id="568" r:id="rId31"/>
    <p:sldId id="570" r:id="rId32"/>
    <p:sldId id="572" r:id="rId33"/>
    <p:sldId id="573" r:id="rId34"/>
    <p:sldId id="571" r:id="rId35"/>
    <p:sldId id="576" r:id="rId36"/>
    <p:sldId id="612" r:id="rId37"/>
    <p:sldId id="611" r:id="rId38"/>
    <p:sldId id="578" r:id="rId39"/>
    <p:sldId id="579" r:id="rId40"/>
    <p:sldId id="580" r:id="rId41"/>
    <p:sldId id="628" r:id="rId42"/>
    <p:sldId id="581" r:id="rId43"/>
    <p:sldId id="582" r:id="rId44"/>
    <p:sldId id="627" r:id="rId45"/>
    <p:sldId id="583" r:id="rId46"/>
    <p:sldId id="588" r:id="rId47"/>
    <p:sldId id="589" r:id="rId48"/>
    <p:sldId id="590" r:id="rId49"/>
    <p:sldId id="591" r:id="rId50"/>
    <p:sldId id="592" r:id="rId51"/>
    <p:sldId id="593" r:id="rId52"/>
    <p:sldId id="594" r:id="rId53"/>
    <p:sldId id="626" r:id="rId54"/>
    <p:sldId id="595" r:id="rId55"/>
    <p:sldId id="596" r:id="rId56"/>
    <p:sldId id="597" r:id="rId57"/>
    <p:sldId id="625" r:id="rId58"/>
    <p:sldId id="598" r:id="rId59"/>
    <p:sldId id="599" r:id="rId60"/>
    <p:sldId id="600" r:id="rId61"/>
    <p:sldId id="601" r:id="rId62"/>
    <p:sldId id="602" r:id="rId63"/>
    <p:sldId id="603" r:id="rId64"/>
    <p:sldId id="624" r:id="rId65"/>
    <p:sldId id="604" r:id="rId66"/>
    <p:sldId id="605" r:id="rId67"/>
    <p:sldId id="622" r:id="rId68"/>
    <p:sldId id="623" r:id="rId69"/>
    <p:sldId id="606" r:id="rId70"/>
    <p:sldId id="621" r:id="rId71"/>
    <p:sldId id="607" r:id="rId72"/>
    <p:sldId id="620" r:id="rId73"/>
    <p:sldId id="608" r:id="rId74"/>
    <p:sldId id="618" r:id="rId75"/>
    <p:sldId id="613" r:id="rId76"/>
    <p:sldId id="575" r:id="rId77"/>
    <p:sldId id="614" r:id="rId78"/>
    <p:sldId id="615" r:id="rId79"/>
    <p:sldId id="616" r:id="rId80"/>
    <p:sldId id="545" r:id="rId81"/>
    <p:sldId id="629" r:id="rId82"/>
    <p:sldId id="535" r:id="rId83"/>
    <p:sldId id="536" r:id="rId84"/>
  </p:sldIdLst>
  <p:sldSz cx="12192000" cy="6858000"/>
  <p:notesSz cx="6805613" cy="9944100"/>
  <p:custDataLst>
    <p:tags r:id="rId8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1525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5" pos="982" userDrawn="1">
          <p15:clr>
            <a:srgbClr val="A4A3A4"/>
          </p15:clr>
        </p15:guide>
        <p15:guide id="7" orient="horz" pos="255" userDrawn="1">
          <p15:clr>
            <a:srgbClr val="A4A3A4"/>
          </p15:clr>
        </p15:guide>
        <p15:guide id="8" orient="horz" pos="391" userDrawn="1">
          <p15:clr>
            <a:srgbClr val="A4A3A4"/>
          </p15:clr>
        </p15:guide>
        <p15:guide id="9" pos="54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EBEFF5"/>
    <a:srgbClr val="9DB1CF"/>
    <a:srgbClr val="4C6C9C"/>
    <a:srgbClr val="6F8DB9"/>
    <a:srgbClr val="294790"/>
    <a:srgbClr val="C30C3E"/>
    <a:srgbClr val="BFCCDF"/>
    <a:srgbClr val="4A9B82"/>
    <a:srgbClr val="4651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83" autoAdjust="0"/>
    <p:restoredTop sz="95232" autoAdjust="0"/>
  </p:normalViewPr>
  <p:slideViewPr>
    <p:cSldViewPr>
      <p:cViewPr varScale="1">
        <p:scale>
          <a:sx n="110" d="100"/>
          <a:sy n="110" d="100"/>
        </p:scale>
        <p:origin x="756" y="96"/>
      </p:cViewPr>
      <p:guideLst>
        <p:guide orient="horz" pos="346"/>
        <p:guide orient="horz" pos="1525"/>
        <p:guide orient="horz" pos="210"/>
        <p:guide pos="982"/>
        <p:guide orient="horz" pos="255"/>
        <p:guide orient="horz" pos="391"/>
        <p:guide pos="5473"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397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viewProps" Target="viewProps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theme" Target="theme/theme1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presProps" Target="presProps.xml"/><Relationship Id="rId9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tags" Target="tags/tag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189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r">
              <a:defRPr sz="1100"/>
            </a:lvl1pPr>
          </a:lstStyle>
          <a:p>
            <a:fld id="{E1861F00-2111-439B-B6A4-2886F1B708E8}" type="datetimeFigureOut">
              <a:rPr lang="ru-RU" smtClean="0"/>
              <a:t>26.05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189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r">
              <a:defRPr sz="1100"/>
            </a:lvl1pPr>
          </a:lstStyle>
          <a:p>
            <a:fld id="{0E4A44FB-600E-4736-9864-2F9B8AA1E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106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r">
              <a:defRPr sz="1100"/>
            </a:lvl1pPr>
          </a:lstStyle>
          <a:p>
            <a:fld id="{4D0E216C-3BF1-4714-851B-ADD0545D47CD}" type="datetimeFigureOut">
              <a:rPr lang="ru-RU" smtClean="0"/>
              <a:pPr/>
              <a:t>26.05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7713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20" tIns="46509" rIns="93020" bIns="4650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5" y="4723453"/>
            <a:ext cx="5444490" cy="4474844"/>
          </a:xfrm>
          <a:prstGeom prst="rect">
            <a:avLst/>
          </a:prstGeom>
        </p:spPr>
        <p:txBody>
          <a:bodyPr vert="horz" lIns="93020" tIns="46509" rIns="93020" bIns="4650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r">
              <a:defRPr sz="11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2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5495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C091C3-3DFD-450D-A682-0DAF3FEA8FDA}" type="slidenum">
              <a:rPr lang="ru-RU" smtClean="0"/>
              <a:pPr/>
              <a:t>4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67843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C091C3-3DFD-450D-A682-0DAF3FEA8FDA}" type="slidenum">
              <a:rPr lang="ru-RU" smtClean="0"/>
              <a:pPr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6784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2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5495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5495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5495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5495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5495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5495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5495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549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7209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5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5611756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287978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9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1129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640071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2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 hasCustomPrompt="1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3430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3774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7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98986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987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3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5879856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2204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69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478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71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270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95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2061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91248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6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1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940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143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47384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200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167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20278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7667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028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472204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029" name="Слайд think-cell" r:id="rId7" imgW="416" imgH="416" progId="TCLayout.ActiveDocument.1">
                  <p:embed/>
                </p:oleObj>
              </mc:Choice>
              <mc:Fallback>
                <p:oleObj name="Слайд think-cell" r:id="rId7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80426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7195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191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477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08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15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87018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127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39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2196454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00" y="6172201"/>
            <a:ext cx="3352800" cy="365125"/>
          </a:xfrm>
          <a:prstGeom prst="rect">
            <a:avLst/>
          </a:prstGeom>
        </p:spPr>
        <p:txBody>
          <a:bodyPr/>
          <a:lstStyle/>
          <a:p>
            <a:fld id="{9D3D69FB-EC69-4C05-89E7-CA01C4E29BF8}" type="datetimeFigureOut">
              <a:rPr lang="ru-RU" smtClean="0"/>
              <a:t>26.05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0" y="6172201"/>
            <a:ext cx="4470401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80000" y="6172201"/>
            <a:ext cx="2438400" cy="365125"/>
          </a:xfrm>
          <a:prstGeom prst="rect">
            <a:avLst/>
          </a:prstGeom>
        </p:spPr>
        <p:txBody>
          <a:bodyPr/>
          <a:lstStyle/>
          <a:p>
            <a:fld id="{CE2C4E9F-65DC-4CEA-99AB-D34319F07867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391053" y="4372168"/>
            <a:ext cx="8683348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524000" y="731520"/>
            <a:ext cx="8534400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469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7" y="4406901"/>
            <a:ext cx="10363199" cy="1362076"/>
          </a:xfrm>
          <a:prstGeom prst="rect">
            <a:avLst/>
          </a:prstGeo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7" y="2906714"/>
            <a:ext cx="10363199" cy="1500188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345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69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0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38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7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0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94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76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460BE020-E3D2-4B40-A05B-7CD782450F67}" type="datetimeFigureOut">
              <a:rPr lang="ru-RU" smtClean="0"/>
              <a:pPr/>
              <a:t>26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6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1" y="6356350"/>
            <a:ext cx="2844800" cy="365126"/>
          </a:xfrm>
          <a:prstGeom prst="rect">
            <a:avLst/>
          </a:prstGeom>
        </p:spPr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77402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88985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8784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4495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05767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31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2224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17567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5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2094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8533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7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608693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341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48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30523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49" name="Слайд think-cell" r:id="rId7" imgW="353" imgH="353" progId="TCLayout.ActiveDocument.1">
                  <p:embed/>
                </p:oleObj>
              </mc:Choice>
              <mc:Fallback>
                <p:oleObj name="Слайд think-cell" r:id="rId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6668094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70189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2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99942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386452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7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894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0" orient="horz" pos="709" userDrawn="1">
          <p15:clr>
            <a:srgbClr val="FBAE40"/>
          </p15:clr>
        </p15:guide>
        <p15:guide id="1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76582960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35" name="Слайд think-cell" r:id="rId29" imgW="360" imgH="360" progId="TCLayout.ActiveDocument.1">
                  <p:embed/>
                </p:oleObj>
              </mc:Choice>
              <mc:Fallback>
                <p:oleObj name="Слайд think-cell" r:id="rId2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10358344" y="6528475"/>
            <a:ext cx="896832" cy="212893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9490022" y="6501839"/>
            <a:ext cx="648071" cy="224086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6938" y="6501839"/>
            <a:ext cx="566418" cy="242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7479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3" r:id="rId9"/>
    <p:sldLayoutId id="2147483714" r:id="rId10"/>
    <p:sldLayoutId id="2147483715" r:id="rId11"/>
    <p:sldLayoutId id="2147483716" r:id="rId12"/>
    <p:sldLayoutId id="2147483694" r:id="rId13"/>
    <p:sldLayoutId id="2147483663" r:id="rId14"/>
    <p:sldLayoutId id="2147483662" r:id="rId15"/>
    <p:sldLayoutId id="2147483693" r:id="rId16"/>
    <p:sldLayoutId id="2147483667" r:id="rId17"/>
    <p:sldLayoutId id="2147483681" r:id="rId18"/>
    <p:sldLayoutId id="2147483686" r:id="rId19"/>
    <p:sldLayoutId id="2147483683" r:id="rId20"/>
    <p:sldLayoutId id="2147483692" r:id="rId21"/>
    <p:sldLayoutId id="2147483698" r:id="rId22"/>
    <p:sldLayoutId id="2147483717" r:id="rId23"/>
    <p:sldLayoutId id="2147483718" r:id="rId24"/>
    <p:sldLayoutId id="2147483719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1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6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gif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0.png"/><Relationship Id="rId4" Type="http://schemas.openxmlformats.org/officeDocument/2006/relationships/image" Target="../media/image19.gif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gif"/><Relationship Id="rId1" Type="http://schemas.openxmlformats.org/officeDocument/2006/relationships/slideLayout" Target="../slideLayouts/slideLayout2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5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5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5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5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5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3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5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66.jpe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0.jpe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19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3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gif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75.jpeg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76.png"/><Relationship Id="rId7" Type="http://schemas.openxmlformats.org/officeDocument/2006/relationships/image" Target="../media/image80.png"/><Relationship Id="rId2" Type="http://schemas.openxmlformats.org/officeDocument/2006/relationships/hyperlink" Target="http://www.apokidova.com/" TargetMode="Externa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9.png"/><Relationship Id="rId5" Type="http://schemas.openxmlformats.org/officeDocument/2006/relationships/image" Target="../media/image78.gif"/><Relationship Id="rId10" Type="http://schemas.openxmlformats.org/officeDocument/2006/relationships/image" Target="../media/image83.emf"/><Relationship Id="rId4" Type="http://schemas.openxmlformats.org/officeDocument/2006/relationships/image" Target="../media/image77.png"/><Relationship Id="rId9" Type="http://schemas.openxmlformats.org/officeDocument/2006/relationships/image" Target="../media/image82.jpeg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emf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804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08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999656" y="158775"/>
            <a:ext cx="8208912" cy="2694161"/>
          </a:xfrm>
        </p:spPr>
        <p:txBody>
          <a:bodyPr>
            <a:noAutofit/>
          </a:bodyPr>
          <a:lstStyle/>
          <a:p>
            <a:r>
              <a:rPr lang="ru-RU" sz="31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тенциал использования метода "управляемых открытий" в рамках формирования и развития навыков 21 века при преподавании иностранного языка</a:t>
            </a:r>
            <a:r>
              <a:rPr lang="ru-RU" sz="310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endParaRPr lang="ru-RU" sz="31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14121" y="3247816"/>
            <a:ext cx="9505056" cy="147732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r"/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идова Анастасия Дмитриевна,</a:t>
            </a:r>
          </a:p>
          <a:p>
            <a:pPr algn="r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р рабочих тетрадей к УМК </a:t>
            </a:r>
            <a:r>
              <a:rPr lang="en-US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am Up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методист 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БУ ДПО УМЦ Коломна,  </a:t>
            </a:r>
            <a:endParaRPr lang="ru-RU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лавный тренер «Школы профессионального мастерства» Московской области, </a:t>
            </a:r>
          </a:p>
          <a:p>
            <a:pPr algn="r"/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итель АЯ ВКК, эксперт ОГЭ, автор 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тьютор ГК «Издательство «Просвещение», </a:t>
            </a:r>
          </a:p>
          <a:p>
            <a:pPr algn="r"/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р сценарных планов уроков по 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Я для РЭШ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ifra-school</a:t>
            </a:r>
            <a:endParaRPr lang="ru-RU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72" t="44341" r="57659" b="20174"/>
          <a:stretch/>
        </p:blipFill>
        <p:spPr bwMode="auto">
          <a:xfrm>
            <a:off x="47328" y="44624"/>
            <a:ext cx="1304512" cy="1751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06" t="11163" r="51181" b="24496"/>
          <a:stretch/>
        </p:blipFill>
        <p:spPr bwMode="auto">
          <a:xfrm>
            <a:off x="64471" y="3457638"/>
            <a:ext cx="1211746" cy="1635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41" t="44341" r="42790" b="20174"/>
          <a:stretch/>
        </p:blipFill>
        <p:spPr bwMode="auto">
          <a:xfrm>
            <a:off x="1287428" y="620688"/>
            <a:ext cx="1211746" cy="1626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1540" name="Picture 4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98" t="22170" r="40611" b="31318"/>
          <a:stretch/>
        </p:blipFill>
        <p:spPr bwMode="auto">
          <a:xfrm>
            <a:off x="1287429" y="2204864"/>
            <a:ext cx="1204450" cy="158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6" t="22367" r="61134" b="31317"/>
          <a:stretch/>
        </p:blipFill>
        <p:spPr bwMode="auto">
          <a:xfrm>
            <a:off x="53260" y="1759579"/>
            <a:ext cx="1234168" cy="1669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0023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uide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Заголовок 3"/>
          <p:cNvSpPr txBox="1">
            <a:spLocks/>
          </p:cNvSpPr>
          <p:nvPr/>
        </p:nvSpPr>
        <p:spPr>
          <a:xfrm>
            <a:off x="335360" y="188640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ссоциации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5276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uide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Заголовок 3"/>
          <p:cNvSpPr txBox="1">
            <a:spLocks/>
          </p:cNvSpPr>
          <p:nvPr/>
        </p:nvSpPr>
        <p:spPr>
          <a:xfrm>
            <a:off x="335360" y="188640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ссоциации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949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5" t="28216" r="2064" b="5427"/>
          <a:stretch/>
        </p:blipFill>
        <p:spPr bwMode="auto">
          <a:xfrm>
            <a:off x="247453" y="1772816"/>
            <a:ext cx="11695814" cy="4550734"/>
          </a:xfrm>
          <a:prstGeom prst="rect">
            <a:avLst/>
          </a:prstGeom>
          <a:noFill/>
          <a:ln w="2540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1096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scovery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Заголовок 3"/>
          <p:cNvSpPr txBox="1">
            <a:spLocks/>
          </p:cNvSpPr>
          <p:nvPr/>
        </p:nvSpPr>
        <p:spPr>
          <a:xfrm>
            <a:off x="335360" y="188640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ссоциации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79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scovery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31846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5" t="41705" r="54913" b="15659"/>
          <a:stretch/>
        </p:blipFill>
        <p:spPr bwMode="auto">
          <a:xfrm>
            <a:off x="3863752" y="1556792"/>
            <a:ext cx="7739940" cy="4248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Заголовок 3"/>
          <p:cNvSpPr txBox="1">
            <a:spLocks/>
          </p:cNvSpPr>
          <p:nvPr/>
        </p:nvSpPr>
        <p:spPr>
          <a:xfrm>
            <a:off x="335360" y="188640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ссоциации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3952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31641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08" t="25271" r="34331" b="51628"/>
          <a:stretch/>
        </p:blipFill>
        <p:spPr bwMode="auto">
          <a:xfrm>
            <a:off x="119336" y="1052736"/>
            <a:ext cx="9026609" cy="2376264"/>
          </a:xfrm>
          <a:prstGeom prst="rect">
            <a:avLst/>
          </a:prstGeom>
          <a:noFill/>
          <a:ln w="2540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16419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07" r="68692" b="75194"/>
          <a:stretch/>
        </p:blipFill>
        <p:spPr bwMode="auto">
          <a:xfrm>
            <a:off x="0" y="0"/>
            <a:ext cx="3817088" cy="946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6420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54" t="16401" r="37383" b="36012"/>
          <a:stretch/>
        </p:blipFill>
        <p:spPr bwMode="auto">
          <a:xfrm>
            <a:off x="5447929" y="2567775"/>
            <a:ext cx="6731236" cy="3836799"/>
          </a:xfrm>
          <a:prstGeom prst="rect">
            <a:avLst/>
          </a:prstGeom>
          <a:noFill/>
          <a:ln w="2540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3321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911423" y="1556792"/>
            <a:ext cx="10081121" cy="4392488"/>
          </a:xfrm>
        </p:spPr>
        <p:txBody>
          <a:bodyPr/>
          <a:lstStyle/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то прием, который заключается в том, что учитель сначала дает ученикам примеры языковой структуры и помогает самостоятельно находить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ила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91344" y="44624"/>
            <a:ext cx="11520000" cy="648642"/>
          </a:xfrm>
        </p:spPr>
        <p:txBody>
          <a:bodyPr/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тод управляемых открытий 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дуктивный подход)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uided Discovery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2051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85" t="15194" r="78459" b="75659"/>
          <a:stretch/>
        </p:blipFill>
        <p:spPr bwMode="auto">
          <a:xfrm>
            <a:off x="407368" y="2924944"/>
            <a:ext cx="2192213" cy="850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1296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-driven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ляем правило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нируем посредством множества примеров</a:t>
            </a:r>
          </a:p>
          <a:p>
            <a:pPr marL="285750" indent="-285750">
              <a:buFontTx/>
              <a:buChar char="-"/>
            </a:pPr>
            <a:endParaRPr lang="ru-RU" sz="2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т общего к частному»</a:t>
            </a:r>
          </a:p>
          <a:p>
            <a:pPr marL="285750" indent="-285750">
              <a:buFontTx/>
              <a:buChar char="-"/>
            </a:pP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Навязан»</a:t>
            </a: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-discovery</a:t>
            </a:r>
            <a:endParaRPr lang="ru-RU" sz="2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еся не знают правило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учают примеры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нимают суть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нировка посредством упражнений</a:t>
            </a:r>
          </a:p>
          <a:p>
            <a:pPr marL="285750" indent="-285750">
              <a:buFontTx/>
              <a:buChar char="-"/>
            </a:pP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т частного к общему»</a:t>
            </a:r>
          </a:p>
          <a:p>
            <a:pPr marL="285750" indent="-285750">
              <a:buFontTx/>
              <a:buChar char="-"/>
            </a:pP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Более естественный путь познания», </a:t>
            </a:r>
            <a:r>
              <a:rPr lang="ru-RU" sz="2400" b="1" u="sng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ичный опыт</a:t>
            </a:r>
            <a:endParaRPr lang="ru-RU" sz="2400" b="1" u="sng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дуктивный подход</a:t>
            </a: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дуктивный подход</a:t>
            </a: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ение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2576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479376" y="1340768"/>
            <a:ext cx="4685991" cy="3240360"/>
          </a:xfrm>
        </p:spPr>
        <p:txBody>
          <a:bodyPr/>
          <a:lstStyle/>
          <a:p>
            <a:pPr algn="ctr"/>
            <a:r>
              <a:rPr lang="en-US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lliam </a:t>
            </a:r>
            <a:r>
              <a:rPr lang="en-US" sz="2800" b="1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asser</a:t>
            </a:r>
            <a:r>
              <a:rPr lang="en-US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“Schools </a:t>
            </a:r>
          </a:p>
          <a:p>
            <a:pPr algn="ctr"/>
            <a:r>
              <a:rPr lang="en-US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out failure”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16418" name="Picture 2" descr="https://ds05.infourok.ru/uploads/ex/0af1/00050078-669e65a7/img12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13" t="25946" r="5432" b="21456"/>
          <a:stretch/>
        </p:blipFill>
        <p:spPr bwMode="auto">
          <a:xfrm>
            <a:off x="5375920" y="1052736"/>
            <a:ext cx="6583288" cy="2887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Заголовок 3"/>
          <p:cNvSpPr>
            <a:spLocks noGrp="1"/>
          </p:cNvSpPr>
          <p:nvPr>
            <p:ph type="title"/>
          </p:nvPr>
        </p:nvSpPr>
        <p:spPr>
          <a:xfrm>
            <a:off x="184480" y="116632"/>
            <a:ext cx="11774727" cy="648642"/>
          </a:xfrm>
        </p:spPr>
        <p:txBody>
          <a:bodyPr/>
          <a:lstStyle/>
          <a:p>
            <a:r>
              <a:rPr lang="ru-RU" sz="2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кажи мне — и я забуду, покажи мне — и я запомню, </a:t>
            </a:r>
            <a:r>
              <a:rPr lang="ru-RU" sz="2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ай </a:t>
            </a:r>
            <a:r>
              <a:rPr lang="ru-RU" sz="28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не сделать — и я пойму. (Конфуций)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9336" y="4218867"/>
            <a:ext cx="75608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Доводы, до которых 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додумывается 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ам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обычно 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беждают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его больше, нежели те, которые пришли в голову другим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 (</a:t>
            </a:r>
            <a:r>
              <a:rPr lang="ru-RU" sz="2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Паскаль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22562" name="Picture 2" descr="https://upload.wikimedia.org/wikipedia/commons/thumb/4/46/HistoireDesM%C3%A9t%C3%A9ores_-_p135.jpg/767px-HistoireDesM%C3%A9t%C3%A9ores_-_p13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6120" y="3926624"/>
            <a:ext cx="2871062" cy="2874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3296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16423" name="Picture 7" descr="https://justcoolidea.ru/wp-content/uploads/2016/05/Learning-Pyramid-synap-2-1024x88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173130"/>
            <a:ext cx="7224152" cy="6264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9529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34432" y="1196752"/>
            <a:ext cx="11522207" cy="4752528"/>
          </a:xfrm>
        </p:spPr>
        <p:txBody>
          <a:bodyPr/>
          <a:lstStyle/>
          <a:p>
            <a:pPr algn="just" fontAlgn="base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но-ориентированный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blem-Based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earning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— обучение в процессе решения проблемы. Ученики получают сложную, нестандартную задачу без готовых ответов, изучают информацию о проблеме, ищут источники получения недостающих знаний, вырабатывают собственное решение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 fontAlgn="base"/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fontAlgn="base"/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ное обучение (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roject-Based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earning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— этот подход похож на предыдущий, но решение задачи упаковывается в форму учебного проекта с четко обозначенными сроками и результатом в виде доклада, презентации, исследования, арт-проекта, видео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 fontAlgn="base"/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fontAlgn="base"/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тод управляемых открытий (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iscovery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earning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– прохождение учениками упрощенного пути первооткрывателей законов. Они находят недостающую информацию, проводят опыты, взвешивают факты, устанавливают логические связи и приходят к выводам. Чтобы "открытие" произошло, учащиеся должны быть мотивированы, а учитель должен организовать учебную ситуацию, предоставляющую простор для исследования, эксперимента и открытия.</a:t>
            </a:r>
          </a:p>
          <a:p>
            <a:pPr algn="just"/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дуктивное обучение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225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moemisto.ua/img/cache/event_huge/event/0004/14/1a50ce4da53640d779c2f260070c68bc4893df24.png?hash=2019-04-25-12-34-1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16" y="1340950"/>
            <a:ext cx="4848537" cy="3316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stolitsa.me/wp-content/uploads/2019/08/0216c90c76e44490c756deffc0ac57ae-450x39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058" y="1610797"/>
            <a:ext cx="4687856" cy="3047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817351" y="5067181"/>
            <a:ext cx="3129318" cy="95410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ая </a:t>
            </a:r>
          </a:p>
          <a:p>
            <a:pPr algn="ctr"/>
            <a:r>
              <a:rPr lang="ru-RU" sz="28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мотность</a:t>
            </a:r>
            <a:endParaRPr lang="ru-RU" sz="28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авая фигурная скобка 4"/>
          <p:cNvSpPr/>
          <p:nvPr/>
        </p:nvSpPr>
        <p:spPr>
          <a:xfrm rot="5400000">
            <a:off x="5949963" y="3076980"/>
            <a:ext cx="720080" cy="3404339"/>
          </a:xfrm>
          <a:prstGeom prst="rightBrace">
            <a:avLst>
              <a:gd name="adj1" fmla="val 17789"/>
              <a:gd name="adj2" fmla="val 50000"/>
            </a:avLst>
          </a:prstGeom>
          <a:noFill/>
          <a:ln w="254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1847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fontAlgn="base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лубокое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прицельное формирование практических навыков. </a:t>
            </a:r>
            <a:endParaRPr lang="ru-RU" sz="2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еория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новится продолжением опыта обучаемого, ложится на подготовленную почву из </a:t>
            </a:r>
            <a:r>
              <a:rPr lang="ru-RU" sz="2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б и ошибок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бует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ольше времени, нежели стандартные методики и большей самостоятельности от обучаемого.</a:t>
            </a:r>
          </a:p>
          <a:p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стоинство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достаток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fontAlgn="base"/>
            <a:r>
              <a:rPr lang="ru-RU" dirty="0" smtClean="0"/>
              <a:t>Достоинством </a:t>
            </a:r>
            <a:r>
              <a:rPr lang="ru-RU" dirty="0"/>
              <a:t>индуктивного обучения является глубокое и прицельное формирование практических навыков. Теория становится продолжением опыта обучаемого, ложится на подготовленную почву из проб и ошибок.</a:t>
            </a:r>
          </a:p>
          <a:p>
            <a:pPr fontAlgn="base"/>
            <a:r>
              <a:rPr lang="ru-RU" dirty="0"/>
              <a:t>Недостаток индуктивного обучения в том, что оно требует больше времени, нежели стандартные методики и большей самостоятельности от обучаемого.</a:t>
            </a:r>
          </a:p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дуктивное обучение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335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263352" y="2060848"/>
            <a:ext cx="11520000" cy="3672408"/>
          </a:xfrm>
        </p:spPr>
        <p:txBody>
          <a:bodyPr/>
          <a:lstStyle/>
          <a:p>
            <a:pPr marL="342900" indent="-342900" algn="ctr">
              <a:buAutoNum type="arabicParenR"/>
            </a:pP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ris has lived in Cape Town for ten years.</a:t>
            </a:r>
          </a:p>
          <a:p>
            <a:pPr algn="ctr"/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rew has been learning to drive for six months.</a:t>
            </a:r>
          </a:p>
          <a:p>
            <a:pPr algn="ctr"/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) Wendy has lived in Edinburgh since 1995.</a:t>
            </a:r>
          </a:p>
          <a:p>
            <a:pPr algn="ctr"/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r>
              <a:rPr lang="en-US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vid has been out of work since January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86532" y="1294370"/>
            <a:ext cx="11520000" cy="648642"/>
          </a:xfrm>
        </p:spPr>
        <p:txBody>
          <a:bodyPr/>
          <a:lstStyle/>
          <a:p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udy these two sets of sentences: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-13909" y="-2746"/>
            <a:ext cx="3155974" cy="9807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 1</a:t>
            </a:r>
            <a:endParaRPr lang="ru-RU" sz="2800" b="1" dirty="0" err="1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4588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34433" y="2276872"/>
            <a:ext cx="11520000" cy="3672408"/>
          </a:xfrm>
        </p:spPr>
        <p:txBody>
          <a:bodyPr/>
          <a:lstStyle/>
          <a:p>
            <a:pPr marL="342900" indent="-342900">
              <a:buAutoNum type="arabicParenR"/>
            </a:pP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nna has been married ______ seven years.</a:t>
            </a:r>
          </a:p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) Jeff has been studying French ______ 1990.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86532" y="1294370"/>
            <a:ext cx="11520000" cy="648642"/>
          </a:xfrm>
        </p:spPr>
        <p:txBody>
          <a:bodyPr/>
          <a:lstStyle/>
          <a:p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hoose </a:t>
            </a:r>
            <a:r>
              <a:rPr lang="en-US" sz="2800" i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sz="2800" i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ince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o complete the sentences: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3155974" cy="9807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 2</a:t>
            </a:r>
            <a:endParaRPr lang="ru-RU" sz="2800" b="1" dirty="0" err="1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27682" name="Picture 2" descr="https://i.ytimg.com/vi/jEImXKS2atA/maxresdefaul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5572" y="2276872"/>
            <a:ext cx="3968441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3250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34433" y="2276872"/>
            <a:ext cx="11520000" cy="3672408"/>
          </a:xfrm>
        </p:spPr>
        <p:txBody>
          <a:bodyPr/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) Chris and Jim have been together _____ a long time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 I have been living here ______ last summer.</a:t>
            </a:r>
          </a:p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 They have been going out together _____ they met five weeks ago.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86532" y="1294370"/>
            <a:ext cx="11520000" cy="648642"/>
          </a:xfrm>
        </p:spPr>
        <p:txBody>
          <a:bodyPr/>
          <a:lstStyle/>
          <a:p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hoose </a:t>
            </a:r>
            <a:r>
              <a:rPr lang="en-US" sz="2800" i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or </a:t>
            </a:r>
            <a:r>
              <a:rPr lang="en-US" sz="2800" i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ince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o complete the sentences: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3155974" cy="9807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 3</a:t>
            </a:r>
            <a:endParaRPr lang="ru-RU" sz="2800" b="1" dirty="0" err="1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28706" name="Picture 2" descr="https://2.bp.blogspot.com/-83mqUxVn3I0/W-DxtvNCI0I/AAAAAAAAKJE/G4i2wmkZYQkZliMyfJ6WMB3dZdMbdG0xgCLcBGAs/s1600/Screen%2BShot%2B2018-11-05%2Bat%2B6.29.08%2BPM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4392" y="1600809"/>
            <a:ext cx="1580744" cy="144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9935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35360" y="1484784"/>
            <a:ext cx="11520000" cy="3672408"/>
          </a:xfrm>
        </p:spPr>
        <p:txBody>
          <a:bodyPr/>
          <a:lstStyle/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шибка - 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вторное обращение к модели - 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нализ</a:t>
            </a:r>
          </a:p>
          <a:p>
            <a:pPr algn="ctr"/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“up-the-garden-path” procedure –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ть условия для того, </a:t>
            </a:r>
          </a:p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тобы обучающиеся сделали ошибку в самом начале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мыслили модель повторно</a:t>
            </a:r>
            <a:endParaRPr lang="en-US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3155974" cy="9807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 3</a:t>
            </a:r>
            <a:endParaRPr lang="ru-RU" sz="2800" b="1" dirty="0" err="1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649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119336" y="332656"/>
            <a:ext cx="11520000" cy="3384376"/>
          </a:xfrm>
        </p:spPr>
        <p:txBody>
          <a:bodyPr/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+ выражение времени с числами и количеством </a:t>
            </a:r>
          </a:p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n years, six month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I have been living here ______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st summer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) They have been going out together _____ they met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ve weeks ago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en-US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29730" name="Picture 2" descr="https://img2.freepng.ru/20171220/aiq/question-mark-png-5a3a4e1e2ed2e9.4664277115137705261918904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248" y="3284984"/>
            <a:ext cx="2835315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5888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119336" y="332656"/>
            <a:ext cx="11520000" cy="3384376"/>
          </a:xfrm>
        </p:spPr>
        <p:txBody>
          <a:bodyPr/>
          <a:lstStyle/>
          <a:p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+ выражение времени с числами и количеством </a:t>
            </a:r>
          </a:p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n years, six month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I have been living here ______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st summer</a:t>
            </a:r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) They have been going out together _____ they met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ve weeks ago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en-US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29730" name="Picture 2" descr="https://img2.freepng.ru/20171220/aiq/question-mark-png-5a3a4e1e2ed2e9.4664277115137705261918904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0296" y="3573016"/>
            <a:ext cx="2835315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4007768" y="1916832"/>
            <a:ext cx="1008112" cy="432048"/>
          </a:xfrm>
          <a:prstGeom prst="rect">
            <a:avLst/>
          </a:prstGeom>
          <a:solidFill>
            <a:srgbClr val="FF7C8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for</a:t>
            </a: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543278" y="2924944"/>
            <a:ext cx="1008112" cy="432048"/>
          </a:xfrm>
          <a:prstGeom prst="rect">
            <a:avLst/>
          </a:prstGeom>
          <a:solidFill>
            <a:srgbClr val="FF7C80"/>
          </a:soli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for</a:t>
            </a: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" name="Умножение 7"/>
          <p:cNvSpPr/>
          <p:nvPr/>
        </p:nvSpPr>
        <p:spPr>
          <a:xfrm>
            <a:off x="5267908" y="2204864"/>
            <a:ext cx="1512168" cy="1872208"/>
          </a:xfrm>
          <a:prstGeom prst="mathMultiply">
            <a:avLst/>
          </a:prstGeom>
          <a:solidFill>
            <a:srgbClr val="FF7C80">
              <a:alpha val="0"/>
            </a:srgb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5" name="Умножение 4"/>
          <p:cNvSpPr/>
          <p:nvPr/>
        </p:nvSpPr>
        <p:spPr>
          <a:xfrm>
            <a:off x="3755740" y="1196752"/>
            <a:ext cx="1512168" cy="1872208"/>
          </a:xfrm>
          <a:prstGeom prst="mathMultiply">
            <a:avLst/>
          </a:prstGeom>
          <a:solidFill>
            <a:srgbClr val="FF7C80">
              <a:alpha val="0"/>
            </a:srgbClr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409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119336" y="332656"/>
            <a:ext cx="11520000" cy="3384376"/>
          </a:xfrm>
        </p:spPr>
        <p:txBody>
          <a:bodyPr/>
          <a:lstStyle/>
          <a:p>
            <a:r>
              <a:rPr lang="en-US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r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+ выражение времени с числами и количеством (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n years, six month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) I have been living here ______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ast summer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) They have been going out together _____ they met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ive weeks ago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783632" y="3248695"/>
            <a:ext cx="9073008" cy="648642"/>
          </a:xfrm>
        </p:spPr>
        <p:txBody>
          <a:bodyPr/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атся не придерживаться </a:t>
            </a:r>
            <a:r>
              <a:rPr lang="ru-RU" sz="28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лько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чевидного факта 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29732" name="Picture 4" descr="https://list-english.ru/img/frazy/20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2312876"/>
            <a:ext cx="2520280" cy="2520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9734" name="Picture 6" descr="https://gcccpray.com/wp-content/uploads/2020/05/DigDeeper-TwBanner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0924" y="3933056"/>
            <a:ext cx="7687604" cy="2562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8662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1559495" y="1052736"/>
            <a:ext cx="10294937" cy="4896544"/>
          </a:xfrm>
        </p:spPr>
        <p:txBody>
          <a:bodyPr/>
          <a:lstStyle/>
          <a:p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ook at these sentences:</a:t>
            </a:r>
          </a:p>
          <a:p>
            <a:pPr algn="ctr"/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You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now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Joe and Jess, don’t you?</a:t>
            </a:r>
          </a:p>
          <a:p>
            <a:pPr algn="ctr"/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y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ork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very day.</a:t>
            </a:r>
          </a:p>
          <a:p>
            <a:pPr algn="ctr"/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oe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lks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o tourists, Jess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rites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letters.</a:t>
            </a:r>
          </a:p>
          <a:p>
            <a:pPr algn="ctr"/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e always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o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o their travel agency.</a:t>
            </a:r>
          </a:p>
          <a:p>
            <a:pPr algn="ctr"/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agency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ffers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ifferent tours.</a:t>
            </a:r>
          </a:p>
          <a:p>
            <a:pPr algn="ctr"/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ke</a:t>
            </a:r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he service there too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287689" y="116632"/>
            <a:ext cx="8566744" cy="712646"/>
          </a:xfrm>
        </p:spPr>
        <p:txBody>
          <a:bodyPr/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nd the rule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-17132" y="0"/>
            <a:ext cx="3155974" cy="9807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 1</a:t>
            </a:r>
            <a:endParaRPr lang="ru-RU" sz="2800" b="1" dirty="0" err="1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261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ook at these sentences:</a:t>
            </a:r>
          </a:p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You </a:t>
            </a:r>
            <a:r>
              <a:rPr lang="en-US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now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Joe and Jess, don’t you?</a:t>
            </a:r>
          </a:p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y </a:t>
            </a:r>
            <a:r>
              <a:rPr lang="en-US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ork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very day.</a:t>
            </a:r>
          </a:p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oe </a:t>
            </a:r>
            <a:r>
              <a:rPr lang="en-US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lks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o tourists, Jess </a:t>
            </a:r>
            <a:r>
              <a:rPr lang="en-US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rites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letters.</a:t>
            </a:r>
          </a:p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e always </a:t>
            </a:r>
            <a:r>
              <a:rPr lang="en-US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o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o their travel agency.</a:t>
            </a:r>
          </a:p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agency </a:t>
            </a:r>
            <a:r>
              <a:rPr lang="en-US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ffers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ifferent tours.</a:t>
            </a:r>
          </a:p>
          <a:p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 </a:t>
            </a:r>
            <a:r>
              <a:rPr lang="en-US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ke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he service there too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4079775" y="980728"/>
            <a:ext cx="7914231" cy="3384376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re is a final    </a:t>
            </a:r>
            <a:r>
              <a:rPr lang="en-US" sz="2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en-US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on the verb only with certain subjects. What are they?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ou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e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y</a:t>
            </a:r>
            <a:endParaRPr lang="ru-RU" sz="2400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-27551" y="0"/>
            <a:ext cx="3155974" cy="9807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 2</a:t>
            </a:r>
            <a:endParaRPr lang="ru-RU" sz="2800" b="1" dirty="0" err="1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312024" y="980728"/>
            <a:ext cx="432048" cy="468052"/>
          </a:xfrm>
          <a:prstGeom prst="rect">
            <a:avLst/>
          </a:prstGeom>
          <a:solidFill>
            <a:schemeClr val="tx2">
              <a:alpha val="5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9510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2"/>
          <p:cNvSpPr txBox="1">
            <a:spLocks/>
          </p:cNvSpPr>
          <p:nvPr/>
        </p:nvSpPr>
        <p:spPr bwMode="auto">
          <a:xfrm>
            <a:off x="300777" y="144016"/>
            <a:ext cx="8356636" cy="134076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108823" tIns="54411" rIns="108823" bIns="54411" anchor="b"/>
          <a:lstStyle/>
          <a:p>
            <a:pPr algn="ctr">
              <a:defRPr/>
            </a:pPr>
            <a:r>
              <a:rPr lang="ru-RU" altLang="ru-RU" sz="3600" kern="0" dirty="0">
                <a:solidFill>
                  <a:srgbClr val="3B5A79"/>
                </a:solidFill>
                <a:latin typeface="Times New Roman" panose="02020603050405020304" pitchFamily="18" charset="0"/>
                <a:ea typeface="ＭＳ Ｐゴシック" charset="-128"/>
                <a:cs typeface="Times New Roman" panose="02020603050405020304" pitchFamily="18" charset="0"/>
              </a:rPr>
              <a:t> </a:t>
            </a:r>
            <a:r>
              <a:rPr lang="ru-RU" altLang="ru-RU" sz="3600" b="1" kern="0" dirty="0">
                <a:solidFill>
                  <a:srgbClr val="3B5A79"/>
                </a:solidFill>
                <a:latin typeface="Times New Roman" panose="02020603050405020304" pitchFamily="18" charset="0"/>
                <a:ea typeface="ＭＳ Ｐゴシック" charset="-128"/>
                <a:cs typeface="Times New Roman" panose="02020603050405020304" pitchFamily="18" charset="0"/>
              </a:rPr>
              <a:t>Модель оценки функциональной </a:t>
            </a:r>
            <a:r>
              <a:rPr lang="ru-RU" altLang="ru-RU" sz="3600" b="1" kern="0" dirty="0" smtClean="0">
                <a:solidFill>
                  <a:srgbClr val="3B5A79"/>
                </a:solidFill>
                <a:latin typeface="Times New Roman" panose="02020603050405020304" pitchFamily="18" charset="0"/>
                <a:ea typeface="ＭＳ Ｐゴシック" charset="-128"/>
                <a:cs typeface="Times New Roman" panose="02020603050405020304" pitchFamily="18" charset="0"/>
              </a:rPr>
              <a:t>грамотности </a:t>
            </a:r>
          </a:p>
        </p:txBody>
      </p:sp>
      <p:sp>
        <p:nvSpPr>
          <p:cNvPr id="21507" name="Овал 4"/>
          <p:cNvSpPr>
            <a:spLocks noChangeArrowheads="1"/>
          </p:cNvSpPr>
          <p:nvPr/>
        </p:nvSpPr>
        <p:spPr bwMode="auto">
          <a:xfrm>
            <a:off x="814919" y="1484314"/>
            <a:ext cx="4032249" cy="936625"/>
          </a:xfrm>
          <a:prstGeom prst="ellipse">
            <a:avLst/>
          </a:prstGeom>
          <a:solidFill>
            <a:srgbClr val="00B0F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108823" tIns="54411" rIns="108823" bIns="54411" anchor="ctr"/>
          <a:lstStyle/>
          <a:p>
            <a:pPr algn="ctr"/>
            <a:r>
              <a:rPr lang="ru-RU" sz="2400" dirty="0"/>
              <a:t>Математическая</a:t>
            </a:r>
          </a:p>
          <a:p>
            <a:pPr algn="ctr"/>
            <a:r>
              <a:rPr lang="ru-RU" sz="2400" dirty="0">
                <a:solidFill>
                  <a:srgbClr val="002060"/>
                </a:solidFill>
              </a:rPr>
              <a:t>грамотность</a:t>
            </a:r>
          </a:p>
        </p:txBody>
      </p:sp>
      <p:sp>
        <p:nvSpPr>
          <p:cNvPr id="21508" name="Овал 6"/>
          <p:cNvSpPr>
            <a:spLocks noChangeArrowheads="1"/>
          </p:cNvSpPr>
          <p:nvPr/>
        </p:nvSpPr>
        <p:spPr bwMode="auto">
          <a:xfrm>
            <a:off x="7344835" y="1988319"/>
            <a:ext cx="4847167" cy="936625"/>
          </a:xfrm>
          <a:prstGeom prst="ellipse">
            <a:avLst/>
          </a:prstGeom>
          <a:solidFill>
            <a:srgbClr val="92D05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108823" tIns="54411" rIns="108823" bIns="54411" anchor="ctr"/>
          <a:lstStyle/>
          <a:p>
            <a:pPr algn="ctr"/>
            <a:r>
              <a:rPr lang="ru-RU" sz="2400" dirty="0"/>
              <a:t>Естественнонаучная </a:t>
            </a:r>
          </a:p>
          <a:p>
            <a:pPr algn="ctr"/>
            <a:r>
              <a:rPr lang="ru-RU" sz="2400" dirty="0"/>
              <a:t>грамотность</a:t>
            </a:r>
          </a:p>
        </p:txBody>
      </p:sp>
      <p:sp>
        <p:nvSpPr>
          <p:cNvPr id="21509" name="Овал 7"/>
          <p:cNvSpPr>
            <a:spLocks noChangeArrowheads="1"/>
          </p:cNvSpPr>
          <p:nvPr/>
        </p:nvSpPr>
        <p:spPr bwMode="auto">
          <a:xfrm>
            <a:off x="4176184" y="5157789"/>
            <a:ext cx="4512734" cy="935037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108823" tIns="54411" rIns="108823" bIns="54411" anchor="ctr"/>
          <a:lstStyle/>
          <a:p>
            <a:pPr algn="ctr"/>
            <a:r>
              <a:rPr lang="ru-RU" sz="2400" dirty="0"/>
              <a:t>Глобальные </a:t>
            </a:r>
          </a:p>
          <a:p>
            <a:pPr algn="ctr"/>
            <a:r>
              <a:rPr lang="ru-RU" sz="2400" dirty="0"/>
              <a:t>компетенции</a:t>
            </a:r>
          </a:p>
        </p:txBody>
      </p:sp>
      <p:sp>
        <p:nvSpPr>
          <p:cNvPr id="9" name="Овал 8"/>
          <p:cNvSpPr/>
          <p:nvPr/>
        </p:nvSpPr>
        <p:spPr bwMode="auto">
          <a:xfrm>
            <a:off x="4176184" y="3068639"/>
            <a:ext cx="4512734" cy="1296987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8823" tIns="54411" rIns="108823" bIns="54411" anchor="ctr"/>
          <a:lstStyle/>
          <a:p>
            <a:pPr algn="ctr">
              <a:defRPr/>
            </a:pPr>
            <a:r>
              <a:rPr lang="ru-RU" sz="3300" dirty="0"/>
              <a:t>Читательская</a:t>
            </a:r>
          </a:p>
          <a:p>
            <a:pPr algn="ctr">
              <a:defRPr/>
            </a:pPr>
            <a:r>
              <a:rPr lang="ru-RU" sz="3300" dirty="0"/>
              <a:t>грамотность</a:t>
            </a:r>
          </a:p>
        </p:txBody>
      </p:sp>
      <p:cxnSp>
        <p:nvCxnSpPr>
          <p:cNvPr id="11" name="Прямая соединительная линия 10"/>
          <p:cNvCxnSpPr>
            <a:endCxn id="21509" idx="6"/>
          </p:cNvCxnSpPr>
          <p:nvPr/>
        </p:nvCxnSpPr>
        <p:spPr bwMode="auto">
          <a:xfrm flipH="1">
            <a:off x="8688918" y="2924944"/>
            <a:ext cx="1727562" cy="2700364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Прямая соединительная линия 14"/>
          <p:cNvCxnSpPr/>
          <p:nvPr/>
        </p:nvCxnSpPr>
        <p:spPr bwMode="auto">
          <a:xfrm>
            <a:off x="1871134" y="2349501"/>
            <a:ext cx="2400300" cy="3167063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Прямая соединительная линия 17"/>
          <p:cNvCxnSpPr/>
          <p:nvPr/>
        </p:nvCxnSpPr>
        <p:spPr bwMode="auto">
          <a:xfrm>
            <a:off x="4479095" y="2252455"/>
            <a:ext cx="3129073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Прямая соединительная линия 20"/>
          <p:cNvCxnSpPr/>
          <p:nvPr/>
        </p:nvCxnSpPr>
        <p:spPr bwMode="auto">
          <a:xfrm>
            <a:off x="6288618" y="1989138"/>
            <a:ext cx="0" cy="107950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 flipH="1" flipV="1">
            <a:off x="8688917" y="3716339"/>
            <a:ext cx="863600" cy="504825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Прямая соединительная линия 35"/>
          <p:cNvCxnSpPr>
            <a:stCxn id="9" idx="2"/>
          </p:cNvCxnSpPr>
          <p:nvPr/>
        </p:nvCxnSpPr>
        <p:spPr bwMode="auto">
          <a:xfrm flipH="1">
            <a:off x="3312584" y="3716339"/>
            <a:ext cx="863600" cy="433387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Прямая соединительная линия 41"/>
          <p:cNvCxnSpPr/>
          <p:nvPr/>
        </p:nvCxnSpPr>
        <p:spPr bwMode="auto">
          <a:xfrm>
            <a:off x="3552263" y="2410012"/>
            <a:ext cx="1031569" cy="94698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Прямая соединительная линия 48"/>
          <p:cNvCxnSpPr>
            <a:stCxn id="9" idx="4"/>
            <a:endCxn id="21509" idx="0"/>
          </p:cNvCxnSpPr>
          <p:nvPr/>
        </p:nvCxnSpPr>
        <p:spPr bwMode="auto">
          <a:xfrm>
            <a:off x="6432551" y="4365625"/>
            <a:ext cx="0" cy="792163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520" name="TextBox 55"/>
          <p:cNvSpPr txBox="1">
            <a:spLocks noChangeArrowheads="1"/>
          </p:cNvSpPr>
          <p:nvPr/>
        </p:nvSpPr>
        <p:spPr bwMode="auto">
          <a:xfrm>
            <a:off x="2639485" y="3933825"/>
            <a:ext cx="960967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/>
            <a:r>
              <a:rPr lang="ru-RU" sz="2400" dirty="0"/>
              <a:t>4%</a:t>
            </a:r>
          </a:p>
        </p:txBody>
      </p:sp>
      <p:sp>
        <p:nvSpPr>
          <p:cNvPr id="21521" name="TextBox 56"/>
          <p:cNvSpPr txBox="1">
            <a:spLocks noChangeArrowheads="1"/>
          </p:cNvSpPr>
          <p:nvPr/>
        </p:nvSpPr>
        <p:spPr bwMode="auto">
          <a:xfrm>
            <a:off x="5808134" y="1773238"/>
            <a:ext cx="960967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/>
            <a:r>
              <a:rPr lang="ru-RU" sz="2400" dirty="0"/>
              <a:t>4%</a:t>
            </a:r>
          </a:p>
        </p:txBody>
      </p:sp>
      <p:sp>
        <p:nvSpPr>
          <p:cNvPr id="21522" name="TextBox 57"/>
          <p:cNvSpPr txBox="1">
            <a:spLocks noChangeArrowheads="1"/>
          </p:cNvSpPr>
          <p:nvPr/>
        </p:nvSpPr>
        <p:spPr bwMode="auto">
          <a:xfrm>
            <a:off x="9072034" y="4076700"/>
            <a:ext cx="960967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/>
            <a:r>
              <a:rPr lang="ru-RU" sz="2400" dirty="0"/>
              <a:t>4%</a:t>
            </a:r>
          </a:p>
        </p:txBody>
      </p:sp>
      <p:sp>
        <p:nvSpPr>
          <p:cNvPr id="21523" name="TextBox 58"/>
          <p:cNvSpPr txBox="1">
            <a:spLocks noChangeArrowheads="1"/>
          </p:cNvSpPr>
          <p:nvPr/>
        </p:nvSpPr>
        <p:spPr bwMode="auto">
          <a:xfrm>
            <a:off x="3695700" y="2565401"/>
            <a:ext cx="1248833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/>
            <a:r>
              <a:rPr lang="ru-RU" sz="2400" dirty="0"/>
              <a:t>33%</a:t>
            </a:r>
          </a:p>
        </p:txBody>
      </p:sp>
      <p:sp>
        <p:nvSpPr>
          <p:cNvPr id="21524" name="TextBox 59"/>
          <p:cNvSpPr txBox="1">
            <a:spLocks noChangeArrowheads="1"/>
          </p:cNvSpPr>
          <p:nvPr/>
        </p:nvSpPr>
        <p:spPr bwMode="auto">
          <a:xfrm>
            <a:off x="7513580" y="2779361"/>
            <a:ext cx="1246716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/>
            <a:r>
              <a:rPr lang="ru-RU" sz="2400" dirty="0"/>
              <a:t>33%</a:t>
            </a:r>
          </a:p>
        </p:txBody>
      </p:sp>
      <p:sp>
        <p:nvSpPr>
          <p:cNvPr id="21525" name="TextBox 60"/>
          <p:cNvSpPr txBox="1">
            <a:spLocks noChangeArrowheads="1"/>
          </p:cNvSpPr>
          <p:nvPr/>
        </p:nvSpPr>
        <p:spPr bwMode="auto">
          <a:xfrm>
            <a:off x="5808135" y="4581525"/>
            <a:ext cx="1248833" cy="479217"/>
          </a:xfrm>
          <a:prstGeom prst="rect">
            <a:avLst/>
          </a:prstGeom>
          <a:solidFill>
            <a:srgbClr val="FFCCCC"/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>
            <a:spAutoFit/>
          </a:bodyPr>
          <a:lstStyle/>
          <a:p>
            <a:pPr algn="ctr"/>
            <a:r>
              <a:rPr lang="ru-RU" sz="2400" dirty="0"/>
              <a:t>22%</a:t>
            </a:r>
          </a:p>
        </p:txBody>
      </p:sp>
      <p:sp>
        <p:nvSpPr>
          <p:cNvPr id="21526" name="Овал 21"/>
          <p:cNvSpPr>
            <a:spLocks noChangeArrowheads="1"/>
          </p:cNvSpPr>
          <p:nvPr/>
        </p:nvSpPr>
        <p:spPr bwMode="auto">
          <a:xfrm>
            <a:off x="812800" y="5105400"/>
            <a:ext cx="2844800" cy="838200"/>
          </a:xfrm>
          <a:prstGeom prst="ellipse">
            <a:avLst/>
          </a:prstGeom>
          <a:blipFill dpi="0" rotWithShape="1">
            <a:blip r:embed="rId2" cstate="print"/>
            <a:srcRect/>
            <a:tile tx="0" ty="0" sx="100000" sy="100000" flip="none" algn="tl"/>
          </a:blip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108823" tIns="54411" rIns="108823" bIns="54411" anchor="ctr"/>
          <a:lstStyle/>
          <a:p>
            <a:pPr algn="ctr"/>
            <a:r>
              <a:rPr lang="ru-RU" sz="2400" dirty="0">
                <a:solidFill>
                  <a:srgbClr val="002060"/>
                </a:solidFill>
                <a:latin typeface="Times" pitchFamily="18" charset="0"/>
              </a:rPr>
              <a:t>Финансовая</a:t>
            </a:r>
          </a:p>
          <a:p>
            <a:pPr algn="ctr"/>
            <a:r>
              <a:rPr lang="ru-RU" sz="2400" dirty="0">
                <a:solidFill>
                  <a:srgbClr val="002060"/>
                </a:solidFill>
                <a:latin typeface="Times" pitchFamily="18" charset="0"/>
              </a:rPr>
              <a:t> грамотность</a:t>
            </a:r>
          </a:p>
        </p:txBody>
      </p:sp>
      <p:pic>
        <p:nvPicPr>
          <p:cNvPr id="23" name="Рисунок 22" descr="PISA_WebBanner6-0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9199541" y="5841499"/>
            <a:ext cx="2759269" cy="792590"/>
          </a:xfrm>
          <a:prstGeom prst="rect">
            <a:avLst/>
          </a:prstGeom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332281" y="6117213"/>
            <a:ext cx="1808621" cy="51690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642149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ook at these sentences: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You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now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Joe and Jess, don’t you?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y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ork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very day.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oe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lks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o tourists, Jess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rites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letters.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e always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o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o their travel agency.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agency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ffers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ifferent tours.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ke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he service there too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4511824" y="1033489"/>
            <a:ext cx="5177927" cy="2323503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re is a final    s     on the verb only with certain subjects. What are they?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ou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e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y</a:t>
            </a:r>
            <a:endParaRPr lang="ru-RU" sz="1400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-4894" y="-11034"/>
            <a:ext cx="3155974" cy="9807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 3</a:t>
            </a:r>
            <a:endParaRPr lang="ru-RU" sz="2800" b="1" dirty="0" err="1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7328" y="3429000"/>
            <a:ext cx="12025336" cy="2808312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en-US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w apply the rule</a:t>
            </a:r>
          </a:p>
          <a:p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en-US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ircle the right verb</a:t>
            </a:r>
          </a:p>
          <a:p>
            <a:pPr algn="ctr"/>
            <a:r>
              <a:rPr lang="en-US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</a:t>
            </a:r>
            <a:r>
              <a:rPr lang="en-US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e / sees </a:t>
            </a:r>
            <a:r>
              <a:rPr lang="en-US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ess every day.</a:t>
            </a:r>
          </a:p>
          <a:p>
            <a:pPr algn="ctr"/>
            <a:r>
              <a:rPr lang="en-US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e often </a:t>
            </a:r>
            <a:r>
              <a:rPr lang="en-US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ll / calls </a:t>
            </a:r>
            <a:r>
              <a:rPr lang="en-US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.</a:t>
            </a:r>
          </a:p>
          <a:p>
            <a:pPr algn="ctr"/>
            <a:r>
              <a:rPr lang="en-US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e and Joe </a:t>
            </a:r>
            <a:r>
              <a:rPr lang="en-US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e / comes </a:t>
            </a:r>
            <a:r>
              <a:rPr lang="en-US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my house on weekends.</a:t>
            </a:r>
          </a:p>
          <a:p>
            <a:pPr algn="ctr"/>
            <a:r>
              <a:rPr lang="en-US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oe usually </a:t>
            </a:r>
            <a:r>
              <a:rPr lang="en-US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ll / tells </a:t>
            </a:r>
            <a:r>
              <a:rPr lang="en-US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 some funny stories.</a:t>
            </a:r>
            <a:endParaRPr lang="ru-RU" sz="2800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879976" y="1196751"/>
            <a:ext cx="216024" cy="304789"/>
          </a:xfrm>
          <a:prstGeom prst="rect">
            <a:avLst/>
          </a:prstGeom>
          <a:solidFill>
            <a:schemeClr val="tx2">
              <a:alpha val="5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9060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91344" y="116632"/>
            <a:ext cx="4608513" cy="1296144"/>
          </a:xfrm>
        </p:spPr>
        <p:txBody>
          <a:bodyPr/>
          <a:lstStyle/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Погружение в языковую среду», активизация всех каналов восприятия информации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338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43" t="25116" r="28663" b="4186"/>
          <a:stretch/>
        </p:blipFill>
        <p:spPr bwMode="auto">
          <a:xfrm>
            <a:off x="5231903" y="42433"/>
            <a:ext cx="6924923" cy="6804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3828" name="Picture 4" descr="https://i.ebayimg.com/00/s/OTAwWDkwMA==/z/9Q8AAOSwAThcVBe2/$_57.JPG?set_id=880000500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287" y="1700808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3830" name="Picture 6" descr="https://cdn.pixabay.com/photo/2017/07/09/20/48/speaker-2488096_128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0776" y="1736812"/>
            <a:ext cx="720080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3831" name="Picture 7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59" t="45737" r="50149" b="40697"/>
          <a:stretch/>
        </p:blipFill>
        <p:spPr bwMode="auto">
          <a:xfrm>
            <a:off x="42690" y="2600908"/>
            <a:ext cx="4295144" cy="1470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48" t="47009" r="28925" b="27131"/>
          <a:stretch/>
        </p:blipFill>
        <p:spPr bwMode="auto">
          <a:xfrm>
            <a:off x="689730" y="4477109"/>
            <a:ext cx="4542173" cy="23658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6" t="22367" r="61134" b="31317"/>
          <a:stretch/>
        </p:blipFill>
        <p:spPr bwMode="auto">
          <a:xfrm>
            <a:off x="5138940" y="108360"/>
            <a:ext cx="958212" cy="1296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0685" y="82484"/>
            <a:ext cx="976653" cy="1318020"/>
          </a:xfrm>
          <a:prstGeom prst="rect">
            <a:avLst/>
          </a:prstGeom>
          <a:ln>
            <a:solidFill>
              <a:srgbClr val="00B0F0"/>
            </a:solidFill>
          </a:ln>
        </p:spPr>
      </p:pic>
    </p:spTree>
    <p:extLst>
      <p:ext uri="{BB962C8B-B14F-4D97-AF65-F5344CB8AC3E}">
        <p14:creationId xmlns:p14="http://schemas.microsoft.com/office/powerpoint/2010/main" val="1214264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1559495" y="1052736"/>
            <a:ext cx="10294937" cy="4896544"/>
          </a:xfrm>
        </p:spPr>
        <p:txBody>
          <a:bodyPr/>
          <a:lstStyle/>
          <a:p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325651" y="180636"/>
            <a:ext cx="8528781" cy="648642"/>
          </a:xfrm>
        </p:spPr>
        <p:txBody>
          <a:bodyPr/>
          <a:lstStyle/>
          <a:p>
            <a:r>
              <a:rPr lang="en-US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nd the rule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0" y="-27384"/>
            <a:ext cx="3155974" cy="9807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 1</a:t>
            </a:r>
            <a:endParaRPr lang="ru-RU" sz="2800" b="1" dirty="0" err="1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43" t="25116" r="39396" b="65196"/>
          <a:stretch/>
        </p:blipFill>
        <p:spPr bwMode="auto">
          <a:xfrm>
            <a:off x="263352" y="800708"/>
            <a:ext cx="4212955" cy="75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231" t="67706" r="51629" b="27037"/>
          <a:stretch/>
        </p:blipFill>
        <p:spPr bwMode="auto">
          <a:xfrm>
            <a:off x="6338575" y="3010690"/>
            <a:ext cx="5619101" cy="1056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79" t="33756" r="49342" b="62393"/>
          <a:stretch/>
        </p:blipFill>
        <p:spPr bwMode="auto">
          <a:xfrm>
            <a:off x="227375" y="2249012"/>
            <a:ext cx="7419334" cy="825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вал 1"/>
          <p:cNvSpPr/>
          <p:nvPr/>
        </p:nvSpPr>
        <p:spPr>
          <a:xfrm>
            <a:off x="1379476" y="800708"/>
            <a:ext cx="972108" cy="756084"/>
          </a:xfrm>
          <a:prstGeom prst="ellipse">
            <a:avLst/>
          </a:prstGeom>
          <a:solidFill>
            <a:srgbClr val="FF0000">
              <a:alpha val="50000"/>
            </a:srgbClr>
          </a:solidFill>
          <a:ln w="25400">
            <a:solidFill>
              <a:srgbClr val="FF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6731576" y="2168860"/>
            <a:ext cx="972108" cy="756084"/>
          </a:xfrm>
          <a:prstGeom prst="ellipse">
            <a:avLst/>
          </a:prstGeom>
          <a:solidFill>
            <a:srgbClr val="FF0000">
              <a:alpha val="50000"/>
            </a:srgbClr>
          </a:solidFill>
          <a:ln w="25400">
            <a:solidFill>
              <a:srgbClr val="FF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17" t="33825" r="34296" b="62198"/>
          <a:stretch/>
        </p:blipFill>
        <p:spPr bwMode="auto">
          <a:xfrm>
            <a:off x="312730" y="3551677"/>
            <a:ext cx="6025845" cy="1031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38" t="61230" r="49129" b="35020"/>
          <a:stretch/>
        </p:blipFill>
        <p:spPr bwMode="auto">
          <a:xfrm>
            <a:off x="5087888" y="1059243"/>
            <a:ext cx="6409594" cy="995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Овал 15"/>
          <p:cNvSpPr/>
          <p:nvPr/>
        </p:nvSpPr>
        <p:spPr>
          <a:xfrm>
            <a:off x="8400256" y="908720"/>
            <a:ext cx="972108" cy="756084"/>
          </a:xfrm>
          <a:prstGeom prst="ellipse">
            <a:avLst/>
          </a:prstGeom>
          <a:solidFill>
            <a:srgbClr val="FF0000">
              <a:alpha val="50000"/>
            </a:srgbClr>
          </a:solidFill>
          <a:ln w="25400">
            <a:solidFill>
              <a:srgbClr val="FF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1055440" y="3371192"/>
            <a:ext cx="972108" cy="756084"/>
          </a:xfrm>
          <a:prstGeom prst="ellipse">
            <a:avLst/>
          </a:prstGeom>
          <a:solidFill>
            <a:srgbClr val="FF0000">
              <a:alpha val="50000"/>
            </a:srgbClr>
          </a:solidFill>
          <a:ln w="25400">
            <a:solidFill>
              <a:srgbClr val="FF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3970139" y="3371008"/>
            <a:ext cx="972108" cy="756084"/>
          </a:xfrm>
          <a:prstGeom prst="ellipse">
            <a:avLst/>
          </a:prstGeom>
          <a:solidFill>
            <a:srgbClr val="FF0000">
              <a:alpha val="50000"/>
            </a:srgbClr>
          </a:solidFill>
          <a:ln w="25400">
            <a:solidFill>
              <a:srgbClr val="FF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1667508" y="3933056"/>
            <a:ext cx="1080120" cy="756084"/>
          </a:xfrm>
          <a:prstGeom prst="ellipse">
            <a:avLst/>
          </a:prstGeom>
          <a:solidFill>
            <a:srgbClr val="FF0000">
              <a:alpha val="50000"/>
            </a:srgbClr>
          </a:solidFill>
          <a:ln w="25400">
            <a:solidFill>
              <a:srgbClr val="FF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53" t="58848" r="29629" b="35809"/>
          <a:stretch/>
        </p:blipFill>
        <p:spPr bwMode="auto">
          <a:xfrm>
            <a:off x="6111838" y="4583035"/>
            <a:ext cx="5845838" cy="1007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530" t="64401" r="29470" b="31811"/>
          <a:stretch/>
        </p:blipFill>
        <p:spPr bwMode="auto">
          <a:xfrm>
            <a:off x="453796" y="5805264"/>
            <a:ext cx="8045021" cy="79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Овал 24"/>
          <p:cNvSpPr/>
          <p:nvPr/>
        </p:nvSpPr>
        <p:spPr>
          <a:xfrm>
            <a:off x="7946592" y="3068960"/>
            <a:ext cx="692186" cy="434298"/>
          </a:xfrm>
          <a:prstGeom prst="ellipse">
            <a:avLst/>
          </a:prstGeom>
          <a:solidFill>
            <a:srgbClr val="FF0000">
              <a:alpha val="50000"/>
            </a:srgbClr>
          </a:solidFill>
          <a:ln w="25400">
            <a:solidFill>
              <a:srgbClr val="FF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7886200" y="3539023"/>
            <a:ext cx="692186" cy="466041"/>
          </a:xfrm>
          <a:prstGeom prst="ellipse">
            <a:avLst/>
          </a:prstGeom>
          <a:solidFill>
            <a:srgbClr val="FF0000">
              <a:alpha val="50000"/>
            </a:srgbClr>
          </a:solidFill>
          <a:ln w="25400">
            <a:solidFill>
              <a:srgbClr val="FF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9921827" y="4583035"/>
            <a:ext cx="692186" cy="614783"/>
          </a:xfrm>
          <a:prstGeom prst="ellipse">
            <a:avLst/>
          </a:prstGeom>
          <a:solidFill>
            <a:srgbClr val="FF0000">
              <a:alpha val="50000"/>
            </a:srgbClr>
          </a:solidFill>
          <a:ln w="25400">
            <a:solidFill>
              <a:srgbClr val="FF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2207568" y="5994188"/>
            <a:ext cx="692186" cy="614783"/>
          </a:xfrm>
          <a:prstGeom prst="ellipse">
            <a:avLst/>
          </a:prstGeom>
          <a:solidFill>
            <a:srgbClr val="FF0000">
              <a:alpha val="50000"/>
            </a:srgbClr>
          </a:solidFill>
          <a:ln w="25400">
            <a:solidFill>
              <a:srgbClr val="FF0000">
                <a:alpha val="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336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263352" y="1214754"/>
            <a:ext cx="3528392" cy="5094566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re is a final    </a:t>
            </a:r>
            <a:r>
              <a:rPr lang="en-US" sz="2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en-US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on the verb only with certain subjects. What are they?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ou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e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y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0"/>
            <a:ext cx="3155974" cy="9807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 2</a:t>
            </a:r>
            <a:endParaRPr lang="ru-RU" sz="2800" b="1" dirty="0" err="1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639616" y="1682806"/>
            <a:ext cx="432048" cy="468052"/>
          </a:xfrm>
          <a:prstGeom prst="rect">
            <a:avLst/>
          </a:prstGeom>
          <a:solidFill>
            <a:schemeClr val="tx2">
              <a:alpha val="5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007768" y="1214754"/>
            <a:ext cx="3600400" cy="5094566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ind the signal words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w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ways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ver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ften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esterday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ually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metimes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 weekdays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824192" y="1214754"/>
            <a:ext cx="4032448" cy="5094566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is the final    </a:t>
            </a:r>
            <a:r>
              <a:rPr lang="en-US" sz="24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en-US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pronounced?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[z]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[s]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[</a:t>
            </a:r>
            <a:r>
              <a:rPr lang="en-US" sz="24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z</a:t>
            </a:r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]</a:t>
            </a:r>
          </a:p>
          <a:p>
            <a:pPr marL="342900" indent="-342900" algn="ctr">
              <a:buFont typeface="Wingdings" panose="05000000000000000000" pitchFamily="2" charset="2"/>
              <a:buChar char="q"/>
            </a:pP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Font typeface="Wingdings" panose="05000000000000000000" pitchFamily="2" charset="2"/>
              <a:buChar char="q"/>
            </a:pPr>
            <a:endParaRPr lang="en-US" sz="2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Font typeface="Wingdings" panose="05000000000000000000" pitchFamily="2" charset="2"/>
              <a:buChar char="q"/>
            </a:pPr>
            <a:endParaRPr lang="en-US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sz="2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0848528" y="1916832"/>
            <a:ext cx="432048" cy="468052"/>
          </a:xfrm>
          <a:prstGeom prst="rect">
            <a:avLst/>
          </a:prstGeom>
          <a:solidFill>
            <a:schemeClr val="tx2">
              <a:alpha val="5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705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287688" y="180636"/>
            <a:ext cx="8423656" cy="648642"/>
          </a:xfrm>
        </p:spPr>
        <p:txBody>
          <a:bodyPr/>
          <a:lstStyle/>
          <a:p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w apply the </a:t>
            </a:r>
            <a:r>
              <a:rPr lang="en-US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-15612" y="0"/>
            <a:ext cx="3155974" cy="9807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 3</a:t>
            </a:r>
            <a:endParaRPr lang="ru-RU" sz="2800" b="1" dirty="0" err="1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389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35" t="20466" r="31124" b="34557"/>
          <a:stretch/>
        </p:blipFill>
        <p:spPr bwMode="auto">
          <a:xfrm>
            <a:off x="-15612" y="870955"/>
            <a:ext cx="6892683" cy="5510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 rot="20781838">
            <a:off x="2094305" y="2134013"/>
            <a:ext cx="1440160" cy="576064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400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B</a:t>
            </a:r>
            <a:endParaRPr lang="ru-RU" sz="2400" dirty="0" err="1" smtClean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Picture 4" descr="https://hsto.org/files/36c/d49/8d6/36cd498d6d0d4aa39a4e455d7f58ad9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136" y="3287949"/>
            <a:ext cx="4193655" cy="1788856"/>
          </a:xfrm>
          <a:prstGeom prst="rect">
            <a:avLst/>
          </a:prstGeom>
          <a:noFill/>
          <a:ln w="25400">
            <a:solidFill>
              <a:schemeClr val="accent6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8949" name="Picture 5" descr="https://346130.selcdn.ru/storage1/include/site_727/section_4/thumbs/MnG16dopT86s_1200x0_AybP2us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4953" y="1268760"/>
            <a:ext cx="1198120" cy="1775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3207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575720" y="180636"/>
            <a:ext cx="8135624" cy="648642"/>
          </a:xfrm>
        </p:spPr>
        <p:txBody>
          <a:bodyPr/>
          <a:lstStyle/>
          <a:p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w apply the </a:t>
            </a:r>
            <a:r>
              <a:rPr lang="en-US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</a:t>
            </a:r>
            <a: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0" y="-3812"/>
            <a:ext cx="3155974" cy="9807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ep 3</a:t>
            </a:r>
            <a:endParaRPr lang="ru-RU" sz="2800" b="1" dirty="0" err="1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3894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84" t="20000" r="29012" b="3876"/>
          <a:stretch/>
        </p:blipFill>
        <p:spPr bwMode="auto">
          <a:xfrm>
            <a:off x="3326197" y="1000927"/>
            <a:ext cx="5709829" cy="5698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 rot="364184">
            <a:off x="5461031" y="2821566"/>
            <a:ext cx="1440160" cy="576064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400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B</a:t>
            </a:r>
            <a:endParaRPr lang="ru-RU" sz="2400" dirty="0" err="1" smtClean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трелка вправо 7"/>
          <p:cNvSpPr/>
          <p:nvPr/>
        </p:nvSpPr>
        <p:spPr>
          <a:xfrm rot="18588979">
            <a:off x="2125423" y="2249447"/>
            <a:ext cx="1837181" cy="721217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12" name="Picture 4" descr="https://hsto.org/files/36c/d49/8d6/36cd498d6d0d4aa39a4e455d7f58ad9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9" y="1136087"/>
            <a:ext cx="2505558" cy="1068777"/>
          </a:xfrm>
          <a:prstGeom prst="rect">
            <a:avLst/>
          </a:prstGeom>
          <a:noFill/>
          <a:ln w="25400">
            <a:solidFill>
              <a:schemeClr val="accent6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8949" name="Picture 5" descr="https://346130.selcdn.ru/storage1/include/site_727/section_4/thumbs/MnG16dopT86s_1200x0_AybP2us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028" y="2778899"/>
            <a:ext cx="1198120" cy="1775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1581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16418" name="Picture 2" descr="https://sun9-20.userapi.com/impg/THk_QcRNr8y8OGMSUlc7IudAVaZBvYIZlDNaBw/usM50BREBzI.jpg?size=1200x1600&amp;quality=96&amp;sign=3a426fd16f72d65356be9d8d9113c8a7&amp;type=album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987"/>
          <a:stretch/>
        </p:blipFill>
        <p:spPr bwMode="auto">
          <a:xfrm>
            <a:off x="0" y="0"/>
            <a:ext cx="6921575" cy="36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s://sun9-20.userapi.com/impg/THk_QcRNr8y8OGMSUlc7IudAVaZBvYIZlDNaBw/usM50BREBzI.jpg?size=1200x1600&amp;quality=96&amp;sign=3a426fd16f72d65356be9d8d9113c8a7&amp;type=album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116"/>
          <a:stretch/>
        </p:blipFill>
        <p:spPr bwMode="auto">
          <a:xfrm>
            <a:off x="6167284" y="1967230"/>
            <a:ext cx="6024716" cy="4890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6420" name="Picture 4" descr="https://edvisrb.ru/images/uploads/9f6ebf43-2bea-11e7-affc-0050569c7d1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5633" y="3861048"/>
            <a:ext cx="1510308" cy="2021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3782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07568" y="2348880"/>
            <a:ext cx="7272808" cy="151216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4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ssive Voice</a:t>
            </a:r>
            <a:endParaRPr lang="ru-RU" sz="4800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0560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768085" y="1044126"/>
            <a:ext cx="6096000" cy="533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218" tIns="76174" rIns="0" bIns="17774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9170"/>
            <a:r>
              <a:rPr kumimoji="0" lang="ru-RU" altLang="ru-RU" b="0" i="0" u="none" strike="noStrike" cap="none" normalizeH="0" baseline="0" dirty="0" smtClean="0">
                <a:ln>
                  <a:noFill/>
                </a:ln>
                <a:solidFill>
                  <a:srgbClr val="25292E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Что это?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68085" y="1623688"/>
            <a:ext cx="7328179" cy="3816429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fontAlgn="t"/>
            <a:r>
              <a:rPr lang="en-US" sz="4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 write a letter.</a:t>
            </a:r>
          </a:p>
          <a:p>
            <a:pPr fontAlgn="t"/>
            <a:r>
              <a:rPr lang="en-US" sz="4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y invite us.</a:t>
            </a:r>
          </a:p>
          <a:p>
            <a:pPr fontAlgn="t"/>
            <a:r>
              <a:rPr lang="en-US" sz="48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y eat.</a:t>
            </a:r>
          </a:p>
          <a:p>
            <a:pPr fontAlgn="t"/>
            <a:r>
              <a:rPr lang="en-US" sz="48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e sleeps.</a:t>
            </a:r>
          </a:p>
          <a:p>
            <a:pPr fontAlgn="t"/>
            <a:r>
              <a:rPr lang="en-US" sz="48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ou dance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192011" y="1623688"/>
            <a:ext cx="5760640" cy="3816429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fontAlgn="t"/>
            <a:r>
              <a:rPr lang="en-US" sz="4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letter is written.</a:t>
            </a:r>
          </a:p>
          <a:p>
            <a:pPr fontAlgn="t"/>
            <a:r>
              <a:rPr lang="en-US" sz="4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 are invited.</a:t>
            </a:r>
          </a:p>
          <a:p>
            <a:pPr fontAlgn="t"/>
            <a:r>
              <a:rPr lang="en-US" sz="48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y are eaten. (</a:t>
            </a:r>
            <a:r>
              <a:rPr lang="ru-RU" sz="48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8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?)</a:t>
            </a:r>
          </a:p>
          <a:p>
            <a:pPr fontAlgn="t"/>
            <a:r>
              <a:rPr lang="en-US" sz="48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- -</a:t>
            </a:r>
          </a:p>
          <a:p>
            <a:pPr fontAlgn="t"/>
            <a:r>
              <a:rPr lang="en-US" sz="48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- -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4842520" y="2003416"/>
            <a:ext cx="1445501" cy="105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>
            <a:off x="4795908" y="2760128"/>
            <a:ext cx="1143008" cy="21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3891027" y="3535056"/>
            <a:ext cx="1809763" cy="21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4037471" y="4293096"/>
            <a:ext cx="1428760" cy="21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>
            <a:off x="4071916" y="5061182"/>
            <a:ext cx="1333509" cy="21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Лента лицом вверх 7"/>
          <p:cNvSpPr/>
          <p:nvPr/>
        </p:nvSpPr>
        <p:spPr>
          <a:xfrm>
            <a:off x="2845729" y="139803"/>
            <a:ext cx="4018356" cy="1272973"/>
          </a:xfrm>
          <a:prstGeom prst="ribbon2">
            <a:avLst/>
          </a:prstGeom>
          <a:solidFill>
            <a:srgbClr val="FFFFCC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квизит 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798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768085" y="895366"/>
            <a:ext cx="6096000" cy="830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218" tIns="76174" rIns="0" bIns="177740" numCol="1" anchor="ctr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9170"/>
            <a:r>
              <a:rPr lang="ru-RU" altLang="ru-RU" sz="3700" dirty="0">
                <a:solidFill>
                  <a:srgbClr val="25292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ГДА?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31371" y="1892830"/>
            <a:ext cx="11329259" cy="3734356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fontAlgn="t"/>
            <a:r>
              <a:rPr lang="ru-RU" sz="2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акт совершения действия гораздо важнее, чем его исполнитель.</a:t>
            </a:r>
            <a:endParaRPr lang="ru-RU" sz="2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t">
              <a:buFont typeface="Arial"/>
              <a:buChar char="•"/>
            </a:pPr>
            <a:r>
              <a:rPr lang="ru-RU" sz="2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29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ru-RU" sz="2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lowers are watered</a:t>
            </a:r>
            <a:r>
              <a:rPr lang="ru-RU" sz="2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US" sz="2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t"/>
            <a:endParaRPr lang="ru-RU" sz="2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t"/>
            <a:r>
              <a:rPr lang="ru-RU" sz="2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2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ы не знаем, кто совершил действие. </a:t>
            </a:r>
            <a:endParaRPr lang="ru-RU" sz="2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t">
              <a:buFont typeface="Arial"/>
              <a:buChar char="•"/>
            </a:pPr>
            <a:r>
              <a:rPr lang="ru-RU" sz="2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29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ru-RU" sz="2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ridge is</a:t>
            </a:r>
            <a:r>
              <a:rPr lang="ru-RU" sz="2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uilt</a:t>
            </a:r>
            <a:r>
              <a:rPr lang="ru-RU" sz="2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US" sz="2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t"/>
            <a:endParaRPr lang="ru-RU" sz="2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t"/>
            <a:r>
              <a:rPr lang="ru-RU" sz="2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2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гда мы не хотим говорить, кто именно это сделал.</a:t>
            </a:r>
            <a:endParaRPr lang="ru-RU" sz="2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t">
              <a:buFont typeface="Arial"/>
              <a:buChar char="•"/>
            </a:pPr>
            <a:r>
              <a:rPr lang="ru-RU" sz="2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29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e</a:t>
            </a:r>
            <a:r>
              <a:rPr lang="ru-RU" sz="2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y </a:t>
            </a:r>
            <a:r>
              <a:rPr lang="ru-RU" sz="29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is</a:t>
            </a:r>
            <a:r>
              <a:rPr lang="ru-RU" sz="2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9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poiled</a:t>
            </a:r>
            <a:r>
              <a:rPr lang="ru-RU" sz="2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806328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321540" name="Picture 4" descr="http://qrcoder.ru/code/?https%3A%2F%2Fwww.youtube.com%2Fwatch%3Fv%3D7f4YNW8jjGQ&amp;6&amp;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8408" y="116632"/>
            <a:ext cx="2343150" cy="2343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1541" name="Picture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66" t="19355" r="4158" b="10543"/>
          <a:stretch/>
        </p:blipFill>
        <p:spPr bwMode="auto">
          <a:xfrm>
            <a:off x="20408" y="2924944"/>
            <a:ext cx="8552217" cy="37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1543" name="Picture 7" descr="http://qrcoder.ru/code/?https%3A%2F%2Fwww.youtube.com%2Fplaylist%3Flist%3DPLj-8k2O6Bgvyc0x3k1_f3VJIKnpr8l9fB&amp;6&amp;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4232" y="4286249"/>
            <a:ext cx="2571750" cy="2571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153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51" t="27316" r="44999" b="28954"/>
          <a:stretch/>
        </p:blipFill>
        <p:spPr bwMode="auto">
          <a:xfrm>
            <a:off x="4079776" y="7432"/>
            <a:ext cx="5738800" cy="3133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5044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10633" y="1197365"/>
            <a:ext cx="11049077" cy="5940084"/>
          </a:xfrm>
          <a:prstGeom prst="rect">
            <a:avLst/>
          </a:prstGeom>
          <a:noFill/>
        </p:spPr>
        <p:txBody>
          <a:bodyPr wrap="square" lIns="121917" tIns="60958" rIns="121917" bIns="60958">
            <a:spAutoFit/>
          </a:bodyPr>
          <a:lstStyle/>
          <a:p>
            <a:pPr lvl="0"/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читай текст и подчеркни все случаи употребления </a:t>
            </a:r>
          </a:p>
          <a:p>
            <a:pPr lvl="0"/>
            <a:r>
              <a:rPr lang="en-US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sent Simple Active </a:t>
            </a:r>
            <a:r>
              <a:rPr lang="ru-RU" sz="27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ним</a:t>
            </a:r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цветом, </a:t>
            </a:r>
          </a:p>
          <a:p>
            <a:pPr lvl="0"/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 </a:t>
            </a:r>
            <a:r>
              <a:rPr lang="en-US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sent Simple Passive</a:t>
            </a:r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27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еленым</a:t>
            </a:r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ucy returns home. </a:t>
            </a:r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r kids, Kate and Alex, are in the living room. They run around the table and shout. </a:t>
            </a:r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ex is asked to wait for Kate, but he does not wait. </a:t>
            </a:r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w Lucy is invited to join them. </a:t>
            </a:r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 Kate and Alex are joined by Lucy.</a:t>
            </a:r>
          </a:p>
          <a:p>
            <a:endParaRPr lang="en-US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en-US" sz="2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/  </a:t>
            </a:r>
            <a:r>
              <a:rPr lang="ru-RU" sz="27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читай. Какие действия делают Люси и ребята </a:t>
            </a:r>
            <a:r>
              <a:rPr lang="ru-RU" sz="27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остоятельно</a:t>
            </a:r>
            <a:r>
              <a:rPr lang="ru-RU" sz="27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? А какие </a:t>
            </a:r>
            <a:r>
              <a:rPr lang="ru-RU" sz="27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т</a:t>
            </a:r>
            <a:r>
              <a:rPr lang="ru-RU" sz="27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? Подчеркни.</a:t>
            </a:r>
            <a:endParaRPr lang="en-US" sz="2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1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99456" y="2852936"/>
            <a:ext cx="1208017" cy="538605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turns</a:t>
            </a:r>
            <a:endParaRPr lang="ru-RU" sz="27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899870" y="3250435"/>
            <a:ext cx="755970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7829312" y="3255560"/>
            <a:ext cx="786968" cy="533480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n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7368" y="3645024"/>
            <a:ext cx="996421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ut</a:t>
            </a:r>
            <a:endParaRPr lang="ru-RU" sz="27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607555" y="4077072"/>
            <a:ext cx="1496557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oes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t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6837644" y="4077072"/>
            <a:ext cx="842532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ait</a:t>
            </a:r>
            <a:endParaRPr lang="ru-RU" sz="27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52240" y="4093504"/>
            <a:ext cx="1438849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asked 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939045" y="4500208"/>
            <a:ext cx="1611974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70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vited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2927648" y="4906619"/>
            <a:ext cx="1708154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70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oined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4" name="AutoShape 2" descr="https://images.squarespace-cdn.com/content/v1/5a0343018dd041b3c8748526/1515882694302-UGEMFYLR0UCIVTSR49XD/ke17ZwdGBToddI8pDm48kBpItR7JH2tuHgIHzt0mAwRZw-zPPgdn4jUwVcJE1ZvWQUxwkmyExglNqGp0IvTJZamWLI2zvYWH8K3-s_4yszcp2ryTI0HqTOaaUohrI8PIhUVVLWUPpGbOsfXaWY1MjDi8RW1WC-dOqI9_EHZj6BYKMshLAGzx4R3EDFOm1kBS/PRIC_HTBUWYP_LockScreeniphone6_750x1334_what.jpg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4" descr="https://images.squarespace-cdn.com/content/v1/5a0343018dd041b3c8748526/1515882694302-UGEMFYLR0UCIVTSR49XD/ke17ZwdGBToddI8pDm48kBpItR7JH2tuHgIHzt0mAwRZw-zPPgdn4jUwVcJE1ZvWQUxwkmyExglNqGp0IvTJZamWLI2zvYWH8K3-s_4yszcp2ryTI0HqTOaaUohrI8PIhUVVLWUPpGbOsfXaWY1MjDi8RW1WC-dOqI9_EHZj6BYKMshLAGzx4R3EDFOm1kBS/PRIC_HTBUWYP_LockScreeniphone6_750x1334_what.jpg"/>
          <p:cNvSpPr>
            <a:spLocks noChangeAspect="1" noChangeArrowheads="1"/>
          </p:cNvSpPr>
          <p:nvPr/>
        </p:nvSpPr>
        <p:spPr bwMode="auto">
          <a:xfrm>
            <a:off x="410633" y="10584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0" t="15858" r="38742" b="58396"/>
          <a:stretch/>
        </p:blipFill>
        <p:spPr bwMode="auto">
          <a:xfrm rot="304095">
            <a:off x="8145961" y="2153570"/>
            <a:ext cx="3132825" cy="902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1076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10633" y="1197365"/>
            <a:ext cx="11049077" cy="5940084"/>
          </a:xfrm>
          <a:prstGeom prst="rect">
            <a:avLst/>
          </a:prstGeom>
          <a:noFill/>
        </p:spPr>
        <p:txBody>
          <a:bodyPr wrap="square" lIns="121917" tIns="60958" rIns="121917" bIns="60958">
            <a:spAutoFit/>
          </a:bodyPr>
          <a:lstStyle/>
          <a:p>
            <a:pPr lvl="0"/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читай текст и подчеркни все случаи употребления </a:t>
            </a:r>
          </a:p>
          <a:p>
            <a:pPr lvl="0"/>
            <a:r>
              <a:rPr lang="en-US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sent Simple Active </a:t>
            </a:r>
            <a:r>
              <a:rPr lang="ru-RU" sz="27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ним</a:t>
            </a:r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цветом, </a:t>
            </a:r>
          </a:p>
          <a:p>
            <a:pPr lvl="0"/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 </a:t>
            </a:r>
            <a:r>
              <a:rPr lang="en-US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sent Simple Passive</a:t>
            </a:r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ru-RU" sz="27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еленым</a:t>
            </a:r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ucy returns home. </a:t>
            </a:r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r kids, Kate and Alex, are in the living room. They run around the table and shout. </a:t>
            </a:r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ex is asked to wait for Kate, but he does not wait. </a:t>
            </a:r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Now Lucy is invited to join them. </a:t>
            </a:r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 Kate and Alex are joined by Lucy.</a:t>
            </a:r>
          </a:p>
          <a:p>
            <a:endParaRPr lang="en-US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/>
            <a:r>
              <a:rPr lang="en-US" sz="2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/  </a:t>
            </a:r>
            <a:r>
              <a:rPr lang="ru-RU" sz="27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читай. Какие действия делают Люси и ребята </a:t>
            </a:r>
            <a:r>
              <a:rPr lang="ru-RU" sz="27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остоятельно</a:t>
            </a:r>
            <a:r>
              <a:rPr lang="ru-RU" sz="27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? А какие </a:t>
            </a:r>
            <a:r>
              <a:rPr lang="ru-RU" sz="27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т</a:t>
            </a:r>
            <a:r>
              <a:rPr lang="ru-RU" sz="27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? Подчеркни.</a:t>
            </a:r>
            <a:endParaRPr lang="en-US" sz="27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1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99456" y="2852936"/>
            <a:ext cx="1208017" cy="538605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turns</a:t>
            </a:r>
            <a:endParaRPr lang="ru-RU" sz="27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899870" y="3250435"/>
            <a:ext cx="755970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7829312" y="3255560"/>
            <a:ext cx="786968" cy="533480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n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7368" y="3645024"/>
            <a:ext cx="996421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hout</a:t>
            </a:r>
            <a:endParaRPr lang="ru-RU" sz="27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607555" y="4077072"/>
            <a:ext cx="1496557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oes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t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6837644" y="4077072"/>
            <a:ext cx="842532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ait</a:t>
            </a:r>
            <a:endParaRPr lang="ru-RU" sz="27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52240" y="4093504"/>
            <a:ext cx="1438849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asked 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939045" y="4500208"/>
            <a:ext cx="1611974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70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vited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2927648" y="4906619"/>
            <a:ext cx="1708154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70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oined</a:t>
            </a:r>
            <a:r>
              <a:rPr lang="en-US" sz="27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4" name="AutoShape 2" descr="https://images.squarespace-cdn.com/content/v1/5a0343018dd041b3c8748526/1515882694302-UGEMFYLR0UCIVTSR49XD/ke17ZwdGBToddI8pDm48kBpItR7JH2tuHgIHzt0mAwRZw-zPPgdn4jUwVcJE1ZvWQUxwkmyExglNqGp0IvTJZamWLI2zvYWH8K3-s_4yszcp2ryTI0HqTOaaUohrI8PIhUVVLWUPpGbOsfXaWY1MjDi8RW1WC-dOqI9_EHZj6BYKMshLAGzx4R3EDFOm1kBS/PRIC_HTBUWYP_LockScreeniphone6_750x1334_what.jpg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4" descr="https://images.squarespace-cdn.com/content/v1/5a0343018dd041b3c8748526/1515882694302-UGEMFYLR0UCIVTSR49XD/ke17ZwdGBToddI8pDm48kBpItR7JH2tuHgIHzt0mAwRZw-zPPgdn4jUwVcJE1ZvWQUxwkmyExglNqGp0IvTJZamWLI2zvYWH8K3-s_4yszcp2ryTI0HqTOaaUohrI8PIhUVVLWUPpGbOsfXaWY1MjDi8RW1WC-dOqI9_EHZj6BYKMshLAGzx4R3EDFOm1kBS/PRIC_HTBUWYP_LockScreeniphone6_750x1334_what.jpg"/>
          <p:cNvSpPr>
            <a:spLocks noChangeAspect="1" noChangeArrowheads="1"/>
          </p:cNvSpPr>
          <p:nvPr/>
        </p:nvSpPr>
        <p:spPr bwMode="auto">
          <a:xfrm>
            <a:off x="410633" y="10584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0" t="15858" r="38742" b="58396"/>
          <a:stretch/>
        </p:blipFill>
        <p:spPr bwMode="auto">
          <a:xfrm rot="304095">
            <a:off x="8145961" y="2153570"/>
            <a:ext cx="3132825" cy="902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9431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  <p:bldP spid="13" grpId="0"/>
      <p:bldP spid="14" grpId="0"/>
      <p:bldP spid="15" grpId="0"/>
      <p:bldP spid="16" grpId="0"/>
      <p:bldP spid="17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919536" y="181669"/>
            <a:ext cx="3751381" cy="954103"/>
          </a:xfrm>
          <a:prstGeom prst="rect">
            <a:avLst/>
          </a:prstGeom>
          <a:noFill/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en-US" sz="54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Game</a:t>
            </a:r>
            <a:endParaRPr lang="ru-RU" sz="54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5361" y="1316765"/>
            <a:ext cx="1124668" cy="697627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en-US" sz="3700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PR</a:t>
            </a:r>
            <a:endParaRPr lang="ru-RU" sz="3700" dirty="0">
              <a:solidFill>
                <a:srgbClr val="00B0F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941581" y="1665579"/>
            <a:ext cx="5458675" cy="160043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121917" tIns="60958" rIns="121917" bIns="60958" rtlCol="0">
            <a:spAutoFit/>
          </a:bodyPr>
          <a:lstStyle/>
          <a:p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sten to the sentences. </a:t>
            </a:r>
          </a:p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ive Voice – clap</a:t>
            </a:r>
          </a:p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ssive Voice – stamp your feet</a:t>
            </a:r>
          </a:p>
        </p:txBody>
      </p:sp>
      <p:pic>
        <p:nvPicPr>
          <p:cNvPr id="1026" name="Picture 2" descr="https://4.bp.blogspot.com/-BLCM1fLazRQ/XMUvZwoTVcI/AAAAAAAAExo/X-re5keFN_EMuiKajJ0CLXbC5OVlzGTNgCLcBGAs/s1600/alkis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3978" y="2852936"/>
            <a:ext cx="2624421" cy="2624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23392" y="3946260"/>
            <a:ext cx="3648405" cy="2092880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y build a house.</a:t>
            </a:r>
          </a:p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house is built.</a:t>
            </a:r>
          </a:p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he cooks dinner.</a:t>
            </a:r>
          </a:p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cake is baked.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0030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39755" y="1028733"/>
            <a:ext cx="10273141" cy="2092880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y build a house.</a:t>
            </a:r>
          </a:p>
          <a:p>
            <a:pPr algn="ctr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house is built.</a:t>
            </a:r>
          </a:p>
          <a:p>
            <a:pPr algn="ctr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he cooks dinner.</a:t>
            </a:r>
          </a:p>
          <a:p>
            <a:pPr algn="ctr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cake is baked.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19404" y="4485118"/>
            <a:ext cx="10849205" cy="1107996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32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примеров и самостоятельный вывод </a:t>
            </a:r>
          </a:p>
          <a:p>
            <a:pPr algn="ctr"/>
            <a:r>
              <a:rPr lang="ru-RU" sz="32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ла и формулы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95468" y="2075173"/>
            <a:ext cx="874592" cy="40010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121917" tIns="60958" rIns="121917" bIns="60958" rtlCol="0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ive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360363" y="1988840"/>
            <a:ext cx="1022069" cy="40010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121917" tIns="60958" rIns="121917" bIns="60958" rtlCol="0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ssive 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4381488" y="1523987"/>
            <a:ext cx="857256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5308595" y="1523987"/>
            <a:ext cx="857256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5308595" y="1576904"/>
            <a:ext cx="857256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6226183" y="152398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534158" y="152398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6819910" y="152398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7105662" y="152398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7391414" y="152398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4502139" y="2012940"/>
            <a:ext cx="1619261" cy="4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6267451" y="2000241"/>
            <a:ext cx="1162059" cy="127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5238744" y="2559043"/>
            <a:ext cx="952507" cy="235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6000749" y="3045880"/>
            <a:ext cx="1428760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4495800" y="2508238"/>
            <a:ext cx="666755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V="1">
            <a:off x="6265333" y="2053157"/>
            <a:ext cx="1162059" cy="127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>
            <a:off x="5238744" y="2508247"/>
            <a:ext cx="952507" cy="235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6000749" y="2990851"/>
            <a:ext cx="1428760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/>
        </p:nvCxnSpPr>
        <p:spPr>
          <a:xfrm>
            <a:off x="4476748" y="2997192"/>
            <a:ext cx="1428760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>
            <a:off x="6283331" y="251459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6591306" y="251459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>
            <a:off x="6877058" y="251459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>
            <a:off x="7162810" y="251459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9012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39755" y="1028733"/>
            <a:ext cx="10273141" cy="2092880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y build a house.</a:t>
            </a:r>
          </a:p>
          <a:p>
            <a:pPr algn="ctr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house is built.</a:t>
            </a:r>
          </a:p>
          <a:p>
            <a:pPr algn="ctr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he cooks dinner.</a:t>
            </a:r>
          </a:p>
          <a:p>
            <a:pPr algn="ctr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cake is baked.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19404" y="4485118"/>
            <a:ext cx="10849205" cy="1107996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32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примеров и самостоятельный вывод </a:t>
            </a:r>
          </a:p>
          <a:p>
            <a:pPr algn="ctr"/>
            <a:r>
              <a:rPr lang="ru-RU" sz="32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ла и формулы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295468" y="2075173"/>
            <a:ext cx="874592" cy="40010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121917" tIns="60958" rIns="121917" bIns="60958" rtlCol="0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ctive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360363" y="1988840"/>
            <a:ext cx="1022069" cy="40010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121917" tIns="60958" rIns="121917" bIns="60958" rtlCol="0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ssive 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" name="Прямая со стрелкой 9"/>
          <p:cNvCxnSpPr/>
          <p:nvPr/>
        </p:nvCxnSpPr>
        <p:spPr>
          <a:xfrm rot="10800000" flipV="1">
            <a:off x="2543605" y="1428735"/>
            <a:ext cx="1837883" cy="73385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 rot="10800000">
            <a:off x="2543606" y="2321395"/>
            <a:ext cx="1933133" cy="598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7524760" y="1904990"/>
            <a:ext cx="1739592" cy="25760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 flipV="1">
            <a:off x="7524760" y="2276872"/>
            <a:ext cx="1595576" cy="5806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381488" y="1523987"/>
            <a:ext cx="857256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5308595" y="1523987"/>
            <a:ext cx="857256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5308595" y="1576904"/>
            <a:ext cx="857256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6226183" y="152398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534158" y="152398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6819910" y="152398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7105662" y="152398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7391414" y="152398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4502139" y="2012940"/>
            <a:ext cx="1619261" cy="40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6267451" y="2000241"/>
            <a:ext cx="1162059" cy="127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5238744" y="2559043"/>
            <a:ext cx="952507" cy="235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6000749" y="3045880"/>
            <a:ext cx="1428760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4495800" y="2508238"/>
            <a:ext cx="666755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V="1">
            <a:off x="6265333" y="2053157"/>
            <a:ext cx="1162059" cy="127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>
            <a:off x="5238744" y="2508247"/>
            <a:ext cx="952507" cy="235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6000749" y="2990851"/>
            <a:ext cx="1428760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/>
        </p:nvCxnSpPr>
        <p:spPr>
          <a:xfrm>
            <a:off x="4476748" y="2997192"/>
            <a:ext cx="1428760" cy="2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>
            <a:off x="6283331" y="251459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6591306" y="251459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>
            <a:off x="6877058" y="251459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>
            <a:off x="7162810" y="2514597"/>
            <a:ext cx="212724" cy="157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043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8897065"/>
              </p:ext>
            </p:extLst>
          </p:nvPr>
        </p:nvGraphicFramePr>
        <p:xfrm>
          <a:off x="719403" y="1508787"/>
          <a:ext cx="10753195" cy="42062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845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686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05256">
                <a:tc>
                  <a:txBody>
                    <a:bodyPr/>
                    <a:lstStyle/>
                    <a:p>
                      <a:pPr algn="ctr"/>
                      <a:endParaRPr lang="en-US" sz="2400" b="1" kern="1200" dirty="0" smtClean="0">
                        <a:solidFill>
                          <a:schemeClr val="lt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2400" b="1" kern="1200" dirty="0" smtClean="0">
                          <a:solidFill>
                            <a:schemeClr val="lt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ктивный (действительный) залог</a:t>
                      </a:r>
                      <a:endParaRPr lang="en-US" sz="2400" b="1" kern="1200" dirty="0" smtClean="0">
                        <a:solidFill>
                          <a:schemeClr val="lt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endParaRPr lang="en-US" sz="2400" b="1" kern="1200" dirty="0" smtClean="0">
                        <a:solidFill>
                          <a:schemeClr val="lt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2400" b="1" kern="1200" dirty="0" smtClean="0">
                          <a:solidFill>
                            <a:schemeClr val="lt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ассивный (страдательный) залог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63679">
                <a:tc>
                  <a:txBody>
                    <a:bodyPr/>
                    <a:lstStyle/>
                    <a:p>
                      <a:pPr algn="ctr"/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ействие выполняет подлежащее (оно активно) 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ействие выполняется </a:t>
                      </a:r>
                      <a:r>
                        <a:rPr lang="ru-RU" sz="2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д</a:t>
                      </a: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подлежащим (само подлежащее пассивно) 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7295">
                <a:tc>
                  <a:txBody>
                    <a:bodyPr/>
                    <a:lstStyle/>
                    <a:p>
                      <a:pPr algn="ctr"/>
                      <a:r>
                        <a:rPr lang="en-US" sz="2400" u="none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usan</a:t>
                      </a:r>
                      <a:r>
                        <a:rPr lang="en-US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u="none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waters</a:t>
                      </a:r>
                      <a:r>
                        <a:rPr lang="en-US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the flowers every Sunday</a:t>
                      </a: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u="none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The</a:t>
                      </a:r>
                      <a:r>
                        <a:rPr lang="en-US" sz="2400" u="none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u="none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flowers</a:t>
                      </a:r>
                      <a:r>
                        <a:rPr lang="en-US" sz="2400" u="none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are </a:t>
                      </a:r>
                      <a:r>
                        <a:rPr lang="en-US" sz="2400" u="none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watered</a:t>
                      </a:r>
                      <a:r>
                        <a:rPr lang="en-US" sz="2400" u="none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every Sunday.</a:t>
                      </a:r>
                      <a:endParaRPr lang="ru-RU" sz="2400" kern="120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7209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2724119"/>
              </p:ext>
            </p:extLst>
          </p:nvPr>
        </p:nvGraphicFramePr>
        <p:xfrm>
          <a:off x="719403" y="1508787"/>
          <a:ext cx="10753195" cy="42062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845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686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05256">
                <a:tc>
                  <a:txBody>
                    <a:bodyPr/>
                    <a:lstStyle/>
                    <a:p>
                      <a:pPr algn="ctr"/>
                      <a:endParaRPr lang="en-US" sz="2400" b="1" kern="1200" dirty="0" smtClean="0">
                        <a:solidFill>
                          <a:schemeClr val="lt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2400" b="1" kern="1200" dirty="0" smtClean="0">
                          <a:solidFill>
                            <a:schemeClr val="lt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ктивный (действительный) залог</a:t>
                      </a:r>
                      <a:endParaRPr lang="en-US" sz="2400" b="1" kern="1200" dirty="0" smtClean="0">
                        <a:solidFill>
                          <a:schemeClr val="lt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endParaRPr lang="en-US" sz="2400" b="1" kern="1200" dirty="0" smtClean="0">
                        <a:solidFill>
                          <a:schemeClr val="lt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2400" b="1" kern="1200" dirty="0" smtClean="0">
                          <a:solidFill>
                            <a:schemeClr val="lt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ассивный (страдательный) залог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63679">
                <a:tc>
                  <a:txBody>
                    <a:bodyPr/>
                    <a:lstStyle/>
                    <a:p>
                      <a:pPr algn="ctr"/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ействие выполняет подлежащее (оно активно) 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ействие выполняется </a:t>
                      </a:r>
                      <a:r>
                        <a:rPr lang="ru-RU" sz="2400" b="1" kern="12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д</a:t>
                      </a: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подлежащим (само подлежащее пассивно) 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7295">
                <a:tc>
                  <a:txBody>
                    <a:bodyPr/>
                    <a:lstStyle/>
                    <a:p>
                      <a:pPr algn="ctr"/>
                      <a:r>
                        <a:rPr lang="en-US" sz="2400" u="sng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usan</a:t>
                      </a:r>
                      <a:r>
                        <a:rPr lang="en-US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u="dbl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waters</a:t>
                      </a:r>
                      <a:r>
                        <a:rPr lang="en-US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the flowers every Sunday</a:t>
                      </a: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u="sng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The flowers</a:t>
                      </a:r>
                      <a:r>
                        <a:rPr lang="en-US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400" u="dbl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are watered</a:t>
                      </a:r>
                      <a:r>
                        <a:rPr lang="en-US" sz="2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every Sunday.</a:t>
                      </a:r>
                      <a:endParaRPr lang="ru-RU" sz="2400" kern="120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Скругленный прямоугольник 3"/>
          <p:cNvSpPr/>
          <p:nvPr/>
        </p:nvSpPr>
        <p:spPr>
          <a:xfrm>
            <a:off x="2836803" y="5349214"/>
            <a:ext cx="6556960" cy="1415263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100" i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динство требований -</a:t>
            </a:r>
            <a:r>
              <a:rPr lang="en-US" sz="2100" i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endParaRPr lang="ru-RU" sz="2100" i="1" dirty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100" i="1" dirty="0" err="1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предметные</a:t>
            </a:r>
            <a:r>
              <a:rPr lang="ru-RU" sz="2100" i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вязи -</a:t>
            </a:r>
            <a:r>
              <a:rPr lang="en-US" sz="2100" i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gt; </a:t>
            </a:r>
            <a:endParaRPr lang="ru-RU" sz="2100" i="1" dirty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100" i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ая грамотность -</a:t>
            </a:r>
            <a:r>
              <a:rPr lang="en-US" sz="2100" i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</a:p>
          <a:p>
            <a:pPr algn="ctr"/>
            <a:r>
              <a:rPr lang="en-US" sz="2100" i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SA</a:t>
            </a:r>
            <a:endParaRPr lang="ru-RU" sz="2100" i="1" dirty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853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2057793"/>
              </p:ext>
            </p:extLst>
          </p:nvPr>
        </p:nvGraphicFramePr>
        <p:xfrm>
          <a:off x="431371" y="2564904"/>
          <a:ext cx="11233248" cy="32453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5949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382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92401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Present Simple (Active)</a:t>
                      </a:r>
                      <a:endParaRPr lang="ru-RU" sz="24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Present Simple (Passive)</a:t>
                      </a:r>
                      <a:endParaRPr lang="ru-RU" sz="24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52961">
                <a:tc>
                  <a:txBody>
                    <a:bodyPr/>
                    <a:lstStyle/>
                    <a:p>
                      <a:pPr marL="457200" indent="252095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_________ + </a:t>
                      </a:r>
                      <a:r>
                        <a:rPr lang="en-US" sz="2400" u="dbl" baseline="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2400" u="dbl" baseline="-250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en-US" sz="2400" u="dbl" baseline="-250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/ s</a:t>
                      </a:r>
                      <a:endParaRPr lang="ru-RU" sz="2400" dirty="0">
                        <a:effectLst/>
                        <a:latin typeface="Century Gothic" pitchFamily="34" charset="0"/>
                        <a:cs typeface="Times New Roman" panose="02020603050405020304" pitchFamily="18" charset="0"/>
                      </a:endParaRPr>
                    </a:p>
                    <a:p>
                      <a:pPr marL="457200" indent="252095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2400" baseline="-250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24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___________+ </a:t>
                      </a:r>
                      <a:r>
                        <a:rPr lang="en-US" sz="24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am </a:t>
                      </a:r>
                      <a:r>
                        <a:rPr lang="en-US" sz="24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/ </a:t>
                      </a:r>
                      <a:r>
                        <a:rPr lang="en-US" sz="24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is / are + </a:t>
                      </a:r>
                      <a:r>
                        <a:rPr lang="en-US" sz="2400" u="dbl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2400" baseline="-250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24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431371" y="1213064"/>
            <a:ext cx="11233248" cy="1369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  <a:spAutoFit/>
          </a:bodyPr>
          <a:lstStyle>
            <a:lvl1pPr indent="2524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indent="336542" algn="ctr" defTabSz="1219170"/>
            <a:r>
              <a:rPr lang="ru-RU" altLang="ru-RU" sz="2700" dirty="0">
                <a:latin typeface="Times New Roman" panose="02020603050405020304" pitchFamily="18" charset="0"/>
                <a:ea typeface="Calibri" pitchFamily="34" charset="0"/>
                <a:cs typeface="Times New Roman" panose="02020603050405020304" pitchFamily="18" charset="0"/>
              </a:rPr>
              <a:t>Пассивный (страдательный) залог образуется с помощью вспомогательного глагола </a:t>
            </a:r>
            <a:r>
              <a:rPr lang="en-US" altLang="ru-RU" sz="27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itchFamily="34" charset="0"/>
                <a:cs typeface="Times New Roman" panose="02020603050405020304" pitchFamily="18" charset="0"/>
              </a:rPr>
              <a:t>to be</a:t>
            </a:r>
            <a:r>
              <a:rPr lang="ru-RU" altLang="ru-RU" sz="27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2700" dirty="0">
                <a:latin typeface="Times New Roman" panose="02020603050405020304" pitchFamily="18" charset="0"/>
                <a:ea typeface="Calibri" pitchFamily="34" charset="0"/>
                <a:cs typeface="Times New Roman" panose="02020603050405020304" pitchFamily="18" charset="0"/>
              </a:rPr>
              <a:t>и смыслового глагола </a:t>
            </a:r>
          </a:p>
          <a:p>
            <a:pPr indent="336542" algn="ctr" defTabSz="1219170"/>
            <a:r>
              <a:rPr lang="ru-RU" altLang="ru-RU" sz="27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itchFamily="34" charset="0"/>
                <a:cs typeface="Times New Roman" panose="02020603050405020304" pitchFamily="18" charset="0"/>
              </a:rPr>
              <a:t>в третьей форме</a:t>
            </a:r>
            <a:r>
              <a:rPr lang="ru-RU" altLang="ru-RU" sz="2700" dirty="0">
                <a:latin typeface="Times New Roman" panose="02020603050405020304" pitchFamily="18" charset="0"/>
                <a:ea typeface="Calibri" pitchFamily="34" charset="0"/>
                <a:cs typeface="Times New Roman" panose="02020603050405020304" pitchFamily="18" charset="0"/>
              </a:rPr>
              <a:t>.</a:t>
            </a:r>
            <a:endParaRPr lang="ru-RU" alt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081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2793116" y="181669"/>
            <a:ext cx="2015930" cy="954103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54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Game</a:t>
            </a:r>
            <a:endParaRPr lang="ru-RU" sz="54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2278219"/>
              </p:ext>
            </p:extLst>
          </p:nvPr>
        </p:nvGraphicFramePr>
        <p:xfrm>
          <a:off x="150243" y="1351559"/>
          <a:ext cx="5952660" cy="2804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842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842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42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34720"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me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un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ump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wim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ink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uy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ad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rite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uild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27" name="Овал 29"/>
          <p:cNvSpPr>
            <a:spLocks noChangeArrowheads="1"/>
          </p:cNvSpPr>
          <p:nvPr/>
        </p:nvSpPr>
        <p:spPr bwMode="auto">
          <a:xfrm>
            <a:off x="949314" y="2409559"/>
            <a:ext cx="604335" cy="576328"/>
          </a:xfrm>
          <a:prstGeom prst="ellipse">
            <a:avLst/>
          </a:prstGeom>
          <a:solidFill>
            <a:srgbClr val="000000">
              <a:alpha val="50196"/>
            </a:srgbClr>
          </a:solidFill>
          <a:ln w="9525">
            <a:solidFill>
              <a:srgbClr val="F68C36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28" name="Овал 29"/>
          <p:cNvSpPr>
            <a:spLocks noChangeArrowheads="1"/>
          </p:cNvSpPr>
          <p:nvPr/>
        </p:nvSpPr>
        <p:spPr bwMode="auto">
          <a:xfrm>
            <a:off x="2791882" y="2451190"/>
            <a:ext cx="655575" cy="534697"/>
          </a:xfrm>
          <a:prstGeom prst="ellipse">
            <a:avLst/>
          </a:prstGeom>
          <a:solidFill>
            <a:srgbClr val="000000">
              <a:alpha val="50196"/>
            </a:srgbClr>
          </a:solidFill>
          <a:ln w="9525">
            <a:solidFill>
              <a:srgbClr val="F68C36"/>
            </a:solidFill>
            <a:round/>
            <a:headEnd/>
            <a:tailEnd/>
          </a:ln>
          <a:effectLst>
            <a:outerShdw dist="20000" dir="5400000" rotWithShape="0">
              <a:srgbClr val="000000">
                <a:alpha val="37999"/>
              </a:srgbClr>
            </a:outerShdw>
          </a:effectLst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Умножение 9"/>
          <p:cNvSpPr/>
          <p:nvPr/>
        </p:nvSpPr>
        <p:spPr>
          <a:xfrm>
            <a:off x="705265" y="1412776"/>
            <a:ext cx="1092431" cy="960107"/>
          </a:xfrm>
          <a:prstGeom prst="mathMultiply">
            <a:avLst/>
          </a:prstGeom>
          <a:solidFill>
            <a:srgbClr val="373C59">
              <a:alpha val="69804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1" name="Умножение 10"/>
          <p:cNvSpPr/>
          <p:nvPr/>
        </p:nvSpPr>
        <p:spPr>
          <a:xfrm>
            <a:off x="4480835" y="1316765"/>
            <a:ext cx="1248139" cy="1031575"/>
          </a:xfrm>
          <a:prstGeom prst="mathMultiply">
            <a:avLst/>
          </a:prstGeom>
          <a:solidFill>
            <a:srgbClr val="373C59">
              <a:alpha val="69804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2" name="Умножение 11"/>
          <p:cNvSpPr/>
          <p:nvPr/>
        </p:nvSpPr>
        <p:spPr>
          <a:xfrm>
            <a:off x="2639616" y="1316766"/>
            <a:ext cx="960107" cy="1031575"/>
          </a:xfrm>
          <a:prstGeom prst="mathMultiply">
            <a:avLst/>
          </a:prstGeom>
          <a:solidFill>
            <a:srgbClr val="373C59">
              <a:alpha val="69804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9519114"/>
              </p:ext>
            </p:extLst>
          </p:nvPr>
        </p:nvGraphicFramePr>
        <p:xfrm>
          <a:off x="6288022" y="3909053"/>
          <a:ext cx="5729085" cy="2804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096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96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096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34720"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me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un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ump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wim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ink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uy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read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write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uild</a:t>
                      </a:r>
                      <a:endParaRPr lang="ru-RU" sz="5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>
                    <a:solidFill>
                      <a:srgbClr val="F1F1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384032" y="4005064"/>
            <a:ext cx="1728192" cy="672075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6384032" y="5925277"/>
            <a:ext cx="1728192" cy="672075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6384032" y="5006516"/>
            <a:ext cx="1728192" cy="672075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8269664" y="5019196"/>
            <a:ext cx="1728192" cy="672075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0224459" y="4977211"/>
            <a:ext cx="1728192" cy="756045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10224459" y="4005064"/>
            <a:ext cx="1728192" cy="742437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8269664" y="4005064"/>
            <a:ext cx="1728192" cy="672075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10224459" y="5910831"/>
            <a:ext cx="1728192" cy="672075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8315424" y="5895244"/>
            <a:ext cx="1728192" cy="672075"/>
          </a:xfrm>
          <a:prstGeom prst="rect">
            <a:avLst/>
          </a:prstGeom>
          <a:solidFill>
            <a:srgbClr val="FFC0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8646775" y="1220755"/>
            <a:ext cx="1546251" cy="1748167"/>
          </a:xfrm>
          <a:prstGeom prst="rect">
            <a:avLst/>
          </a:prstGeom>
          <a:noFill/>
          <a:ln w="25400">
            <a:solidFill>
              <a:srgbClr val="FFC000"/>
            </a:solidFill>
          </a:ln>
        </p:spPr>
        <p:txBody>
          <a:bodyPr wrap="none" lIns="121917" tIns="60958" rIns="121917" bIns="60958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9600" u="dbl" dirty="0">
                <a:latin typeface="Times New Roman" panose="02020603050405020304" pitchFamily="18" charset="0"/>
                <a:cs typeface="Times New Roman" panose="02020603050405020304" pitchFamily="18" charset="0"/>
              </a:rPr>
              <a:t>V</a:t>
            </a:r>
            <a:r>
              <a:rPr lang="en-US" sz="96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9600" dirty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929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7" grpId="0" animBg="1"/>
      <p:bldP spid="1028" grpId="0" animBg="1"/>
      <p:bldP spid="10" grpId="0" animBg="1"/>
      <p:bldP spid="11" grpId="0" animBg="1"/>
      <p:bldP spid="12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ятиугольник 1"/>
          <p:cNvSpPr/>
          <p:nvPr/>
        </p:nvSpPr>
        <p:spPr>
          <a:xfrm>
            <a:off x="623392" y="1508786"/>
            <a:ext cx="2208245" cy="1274241"/>
          </a:xfrm>
          <a:prstGeom prst="homePlat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en-US" sz="2100" dirty="0">
                <a:latin typeface="Century Gothic" pitchFamily="34" charset="0"/>
                <a:ea typeface="Calibri"/>
                <a:cs typeface="Times New Roman" panose="02020603050405020304" pitchFamily="18" charset="0"/>
              </a:rPr>
              <a:t>ACTIVE</a:t>
            </a:r>
            <a:endParaRPr lang="ru-RU" sz="2100" dirty="0">
              <a:latin typeface="Century Gothic" pitchFamily="34" charset="0"/>
              <a:ea typeface="Calibri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en-US" sz="2100" dirty="0">
                <a:latin typeface="Century Gothic" pitchFamily="34" charset="0"/>
                <a:ea typeface="Calibri"/>
                <a:cs typeface="Times New Roman" panose="02020603050405020304" pitchFamily="18" charset="0"/>
              </a:rPr>
              <a:t>VOICE</a:t>
            </a:r>
            <a:endParaRPr lang="ru-RU" sz="2100" dirty="0">
              <a:latin typeface="Century Gothic" pitchFamily="34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3023659" y="1577365"/>
            <a:ext cx="2643683" cy="987537"/>
          </a:xfrm>
          <a:prstGeom prst="roundRect">
            <a:avLst/>
          </a:prstGeom>
          <a:solidFill>
            <a:srgbClr val="00FF99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en-US" sz="2700" u="sng" dirty="0">
                <a:latin typeface="Century Gothic" pitchFamily="34" charset="0"/>
                <a:ea typeface="Calibri"/>
                <a:cs typeface="Times New Roman"/>
              </a:rPr>
              <a:t>The girl</a:t>
            </a:r>
            <a:endParaRPr lang="ru-RU" sz="2700" dirty="0">
              <a:latin typeface="Century Gothic" pitchFamily="34" charset="0"/>
              <a:ea typeface="Calibri"/>
              <a:cs typeface="Times New Roman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893421" y="1577366"/>
            <a:ext cx="2643683" cy="987537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en-US" sz="2700" u="dbl" dirty="0">
                <a:latin typeface="Century Gothic" pitchFamily="34" charset="0"/>
                <a:ea typeface="Calibri"/>
                <a:cs typeface="Times New Roman"/>
              </a:rPr>
              <a:t>waters</a:t>
            </a:r>
            <a:endParaRPr lang="ru-RU" sz="2700" dirty="0">
              <a:latin typeface="Century Gothic" pitchFamily="34" charset="0"/>
              <a:ea typeface="Calibri"/>
              <a:cs typeface="Times New Roman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8784299" y="1577366"/>
            <a:ext cx="2643683" cy="987537"/>
          </a:xfrm>
          <a:prstGeom prst="roundRect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en-US" sz="2700" u="dashLong" dirty="0">
                <a:latin typeface="Century Gothic" pitchFamily="34" charset="0"/>
                <a:ea typeface="Calibri"/>
                <a:cs typeface="Times New Roman"/>
              </a:rPr>
              <a:t>the flowers.</a:t>
            </a:r>
            <a:endParaRPr lang="ru-RU" sz="2700" u="dashLong" dirty="0">
              <a:latin typeface="Century Gothic" pitchFamily="34" charset="0"/>
              <a:ea typeface="Calibri"/>
              <a:cs typeface="Times New Roman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623392" y="3365923"/>
            <a:ext cx="2304256" cy="1455045"/>
          </a:xfrm>
          <a:prstGeom prst="homePlat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en-US" sz="2100" dirty="0">
                <a:latin typeface="Century Gothic" pitchFamily="34" charset="0"/>
                <a:ea typeface="Calibri"/>
                <a:cs typeface="Times New Roman" panose="02020603050405020304" pitchFamily="18" charset="0"/>
              </a:rPr>
              <a:t>PASSIVE</a:t>
            </a:r>
            <a:endParaRPr lang="ru-RU" sz="2100" dirty="0">
              <a:latin typeface="Century Gothic" pitchFamily="34" charset="0"/>
              <a:ea typeface="Calibri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en-US" sz="2100" dirty="0">
                <a:latin typeface="Century Gothic" pitchFamily="34" charset="0"/>
                <a:ea typeface="Calibri"/>
                <a:cs typeface="Times New Roman" panose="02020603050405020304" pitchFamily="18" charset="0"/>
              </a:rPr>
              <a:t>VOICE</a:t>
            </a:r>
            <a:endParaRPr lang="ru-RU" sz="2100" dirty="0">
              <a:latin typeface="Century Gothic" pitchFamily="34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047979" y="3433595"/>
            <a:ext cx="2098675" cy="1127660"/>
          </a:xfrm>
          <a:prstGeom prst="roundRect">
            <a:avLst/>
          </a:prstGeom>
          <a:solidFill>
            <a:srgbClr val="00FF99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en-US" sz="2700" u="sng" dirty="0">
                <a:latin typeface="Century Gothic" pitchFamily="34" charset="0"/>
                <a:ea typeface="Calibri"/>
                <a:cs typeface="Times New Roman" panose="02020603050405020304" pitchFamily="18" charset="0"/>
              </a:rPr>
              <a:t>The flowers</a:t>
            </a:r>
            <a:r>
              <a:rPr lang="en-US" sz="1600" dirty="0">
                <a:latin typeface="Century Gothic" pitchFamily="34" charset="0"/>
                <a:ea typeface="Calibri"/>
                <a:cs typeface="Times New Roman"/>
              </a:rPr>
              <a:t> </a:t>
            </a:r>
            <a:endParaRPr lang="ru-RU" sz="1500" dirty="0">
              <a:latin typeface="Century Gothic" pitchFamily="34" charset="0"/>
              <a:ea typeface="Calibri"/>
              <a:cs typeface="Times New Roman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352236" y="3433595"/>
            <a:ext cx="1870008" cy="1127660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en-US" sz="2700" u="dbl" dirty="0">
                <a:latin typeface="Century Gothic" pitchFamily="34" charset="0"/>
                <a:ea typeface="Calibri"/>
                <a:cs typeface="Times New Roman" panose="02020603050405020304" pitchFamily="18" charset="0"/>
              </a:rPr>
              <a:t>are watered</a:t>
            </a:r>
            <a:endParaRPr lang="ru-RU" sz="2700" dirty="0">
              <a:latin typeface="Century Gothic" pitchFamily="34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367434" y="3433595"/>
            <a:ext cx="1729217" cy="1127660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en-US" sz="2700" b="1" u="dashLong" dirty="0">
                <a:latin typeface="Century Gothic" pitchFamily="34" charset="0"/>
                <a:ea typeface="Calibri"/>
                <a:cs typeface="Times New Roman" panose="02020603050405020304" pitchFamily="18" charset="0"/>
              </a:rPr>
              <a:t>by</a:t>
            </a:r>
            <a:endParaRPr lang="ru-RU" sz="2700" u="dashLong" dirty="0">
              <a:latin typeface="Century Gothic" pitchFamily="34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9287434" y="3429001"/>
            <a:ext cx="2163629" cy="1119193"/>
          </a:xfrm>
          <a:prstGeom prst="roundRect">
            <a:avLst/>
          </a:prstGeom>
          <a:solidFill>
            <a:schemeClr val="accent6">
              <a:lumMod val="90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en-US" sz="2700" u="dashLong" dirty="0">
                <a:latin typeface="Century Gothic" pitchFamily="34" charset="0"/>
                <a:ea typeface="Calibri"/>
                <a:cs typeface="Times New Roman" panose="02020603050405020304" pitchFamily="18" charset="0"/>
              </a:rPr>
              <a:t>the girl.</a:t>
            </a:r>
            <a:endParaRPr lang="ru-RU" sz="2700" u="dashLong" dirty="0">
              <a:latin typeface="Century Gothic" pitchFamily="34" charset="0"/>
              <a:ea typeface="Calibri"/>
              <a:cs typeface="Times New Roman" panose="02020603050405020304" pitchFamily="18" charset="0"/>
            </a:endParaRPr>
          </a:p>
        </p:txBody>
      </p:sp>
      <p:cxnSp>
        <p:nvCxnSpPr>
          <p:cNvPr id="11" name="Скругленная соединительная линия 10"/>
          <p:cNvCxnSpPr/>
          <p:nvPr/>
        </p:nvCxnSpPr>
        <p:spPr>
          <a:xfrm>
            <a:off x="4943872" y="2071133"/>
            <a:ext cx="4676403" cy="1834120"/>
          </a:xfrm>
          <a:prstGeom prst="curvedConnector3">
            <a:avLst>
              <a:gd name="adj1" fmla="val 51358"/>
            </a:avLst>
          </a:prstGeom>
          <a:ln>
            <a:solidFill>
              <a:srgbClr val="92D050"/>
            </a:solidFill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2" name="Скругленная соединительная линия 11"/>
          <p:cNvCxnSpPr/>
          <p:nvPr/>
        </p:nvCxnSpPr>
        <p:spPr>
          <a:xfrm rot="10800000" flipV="1">
            <a:off x="4667240" y="2095491"/>
            <a:ext cx="4381533" cy="1809763"/>
          </a:xfrm>
          <a:prstGeom prst="curvedConnector3">
            <a:avLst>
              <a:gd name="adj1" fmla="val 50000"/>
            </a:avLst>
          </a:prstGeom>
          <a:ln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3" name="Скругленная соединительная линия 12"/>
          <p:cNvCxnSpPr/>
          <p:nvPr/>
        </p:nvCxnSpPr>
        <p:spPr>
          <a:xfrm rot="5400000">
            <a:off x="5048244" y="2666993"/>
            <a:ext cx="1905013" cy="762008"/>
          </a:xfrm>
          <a:prstGeom prst="curvedConnector3">
            <a:avLst>
              <a:gd name="adj1" fmla="val 50000"/>
            </a:avLst>
          </a:prstGeom>
          <a:ln>
            <a:solidFill>
              <a:srgbClr val="00B0F0"/>
            </a:solidFill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8" name="Стрелка вниз 27"/>
          <p:cNvSpPr/>
          <p:nvPr/>
        </p:nvSpPr>
        <p:spPr>
          <a:xfrm>
            <a:off x="7953721" y="4756547"/>
            <a:ext cx="482600" cy="592667"/>
          </a:xfrm>
          <a:prstGeom prst="downArrow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ru-RU">
              <a:latin typeface="Century Gothic" pitchFamily="34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6438188" y="5349214"/>
            <a:ext cx="3539067" cy="651933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1333"/>
              </a:spcAft>
            </a:pPr>
            <a:r>
              <a:rPr lang="ru-RU" sz="1600" dirty="0">
                <a:latin typeface="Century Gothic" pitchFamily="34" charset="0"/>
                <a:ea typeface="Calibri"/>
                <a:cs typeface="Times New Roman"/>
              </a:rPr>
              <a:t>Показывает исполнителя указанного действия</a:t>
            </a:r>
            <a:endParaRPr lang="ru-RU" sz="1500" dirty="0">
              <a:latin typeface="Century Gothic" pitchFamily="34" charset="0"/>
              <a:ea typeface="Calibri"/>
              <a:cs typeface="Times New Roman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64" t="11250" r="53477" b="26954"/>
          <a:stretch/>
        </p:blipFill>
        <p:spPr bwMode="auto">
          <a:xfrm>
            <a:off x="0" y="2236100"/>
            <a:ext cx="974424" cy="1528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2793116" y="181669"/>
            <a:ext cx="2015930" cy="954103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54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Game</a:t>
            </a:r>
            <a:endParaRPr lang="ru-RU" sz="54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936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quarter" idx="13"/>
          </p:nvPr>
        </p:nvSpPr>
        <p:spPr>
          <a:xfrm>
            <a:off x="3071664" y="1052736"/>
            <a:ext cx="8208912" cy="3744416"/>
          </a:xfrm>
        </p:spPr>
        <p:txBody>
          <a:bodyPr>
            <a:noAutofit/>
          </a:bodyPr>
          <a:lstStyle/>
          <a:p>
            <a:pPr marL="45720" indent="0" algn="ctr">
              <a:buNone/>
            </a:pPr>
            <a:endParaRPr lang="ru-RU" sz="28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" indent="0" algn="ctr">
              <a:buNone/>
            </a:pP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iteracy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</a:p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ability to read and write in a language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inability to read or write is known as illiteracy. </a:t>
            </a:r>
            <a:endParaRPr lang="ru-RU" sz="28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unctional </a:t>
            </a:r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teracy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refers to the ability to use reading and writing skills sufficiently well for the purposes and activities which normally require literacy in adult life 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74" name="Picture 2" descr="https://www.logobook.ru/make_nimage.php?uid=11132796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70" r="19115"/>
          <a:stretch/>
        </p:blipFill>
        <p:spPr bwMode="auto">
          <a:xfrm>
            <a:off x="306466" y="1196752"/>
            <a:ext cx="2641220" cy="3138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1036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8283757"/>
              </p:ext>
            </p:extLst>
          </p:nvPr>
        </p:nvGraphicFramePr>
        <p:xfrm>
          <a:off x="190459" y="1527690"/>
          <a:ext cx="11666181" cy="190131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8105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555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75328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Present Simple (Active)</a:t>
                      </a:r>
                      <a:endParaRPr lang="ru-RU" sz="21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2100" b="1" kern="1200" dirty="0">
                          <a:solidFill>
                            <a:schemeClr val="lt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Present Simple (Passive)</a:t>
                      </a:r>
                      <a:endParaRPr lang="ru-RU" sz="2100" b="1" kern="1200" dirty="0">
                        <a:solidFill>
                          <a:schemeClr val="lt1"/>
                        </a:solidFill>
                        <a:effectLst/>
                        <a:latin typeface="Century Gothic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25983">
                <a:tc>
                  <a:txBody>
                    <a:bodyPr/>
                    <a:lstStyle/>
                    <a:p>
                      <a:pPr marL="457200" indent="252095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endParaRPr lang="ru-RU" sz="2100" dirty="0" smtClean="0">
                        <a:effectLst/>
                        <a:latin typeface="Century Gothic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2100" b="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Do</a:t>
                      </a:r>
                      <a:r>
                        <a:rPr lang="ru-RU" sz="2100" b="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100" b="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/ </a:t>
                      </a:r>
                      <a:r>
                        <a:rPr lang="en-US" sz="2100" b="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Does _________ </a:t>
                      </a:r>
                      <a:r>
                        <a:rPr lang="en-US" sz="2100" b="1" u="dbl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2100" b="1" u="dbl" baseline="-250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2100" b="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?</a:t>
                      </a:r>
                      <a:endParaRPr lang="ru-RU" sz="2100" b="0" dirty="0" smtClean="0">
                        <a:effectLst/>
                        <a:latin typeface="Century Gothic" pitchFamily="34" charset="0"/>
                        <a:cs typeface="Times New Roman" panose="02020603050405020304" pitchFamily="18" charset="0"/>
                      </a:endParaRPr>
                    </a:p>
                    <a:p>
                      <a:pPr marL="457200" indent="252095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endParaRPr lang="ru-RU" sz="21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457200" indent="252095" algn="ctr" defTabSz="914400" rtl="0" eaLnBrk="1" latinLnBrk="0" hangingPunct="1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2100" b="0" kern="1200" dirty="0"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Am / Is / Are </a:t>
                      </a:r>
                      <a:r>
                        <a:rPr lang="ru-RU" sz="2100" b="0" kern="1200" dirty="0"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____________+ </a:t>
                      </a:r>
                      <a:r>
                        <a:rPr lang="en-US" sz="2100" b="1" u="dbl" kern="1200" dirty="0" smtClean="0"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2100" b="1" u="dbl" kern="1200" baseline="-25000" dirty="0" smtClean="0"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2100" b="0" kern="1200" dirty="0" smtClean="0">
                          <a:solidFill>
                            <a:schemeClr val="tx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?</a:t>
                      </a:r>
                      <a:endParaRPr lang="ru-RU" sz="2100" b="0" kern="1200" dirty="0" smtClean="0"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457200" indent="252095" algn="ctr" defTabSz="914400" rtl="0" eaLnBrk="1" latinLnBrk="0" hangingPunct="1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endParaRPr lang="ru-RU" sz="2100" b="0" kern="1200" dirty="0">
                        <a:solidFill>
                          <a:schemeClr val="tx1"/>
                        </a:solidFill>
                        <a:effectLst/>
                        <a:latin typeface="Century Gothic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90459" y="1061524"/>
            <a:ext cx="10081120" cy="400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  <a:spAutoFit/>
          </a:bodyPr>
          <a:lstStyle>
            <a:lvl1pPr indent="2524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indent="336542" defTabSz="1219170"/>
            <a:r>
              <a:rPr kumimoji="0" lang="ru-RU" altLang="ru-RU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ea typeface="Calibri" pitchFamily="34" charset="0"/>
                <a:cs typeface="Times New Roman" pitchFamily="18" charset="0"/>
              </a:rPr>
              <a:t>ВОПРОСИТЕЛЬНЫЕ ПРЕДЛОЖЕНИЯ (?):</a:t>
            </a:r>
            <a:endParaRPr lang="ru-RU" altLang="ru-RU" sz="3700" dirty="0">
              <a:latin typeface="Century Gothic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87108"/>
              </p:ext>
            </p:extLst>
          </p:nvPr>
        </p:nvGraphicFramePr>
        <p:xfrm>
          <a:off x="190459" y="4389107"/>
          <a:ext cx="11627454" cy="165304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7912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6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53043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_________ do / does not </a:t>
                      </a:r>
                      <a:r>
                        <a:rPr lang="en-US" sz="2100" u="dbl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2100" u="dbl" baseline="-250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21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21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21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21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______</a:t>
                      </a:r>
                      <a:r>
                        <a:rPr lang="ru-RU" sz="21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__</a:t>
                      </a:r>
                      <a:r>
                        <a:rPr lang="en-US" sz="21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am </a:t>
                      </a:r>
                      <a:r>
                        <a:rPr lang="en-US" sz="21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/ is / are not +  </a:t>
                      </a:r>
                      <a:r>
                        <a:rPr lang="en-US" sz="2100" b="1" u="dbl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2100" b="1" u="dbl" baseline="-250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21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21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527382" y="3846724"/>
            <a:ext cx="6528725" cy="451405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indent="336542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100" i="1" dirty="0">
                <a:latin typeface="Century Gothic" pitchFamily="34" charset="0"/>
                <a:ea typeface="Calibri" pitchFamily="34" charset="0"/>
                <a:cs typeface="Times New Roman" pitchFamily="18" charset="0"/>
              </a:rPr>
              <a:t>ОТРИЦАТЕЛЬНЫЕ ПРЕДЛОЖЕНИЯ (-):</a:t>
            </a:r>
            <a:endParaRPr lang="ru-RU" altLang="ru-RU" sz="3200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597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9033157"/>
              </p:ext>
            </p:extLst>
          </p:nvPr>
        </p:nvGraphicFramePr>
        <p:xfrm>
          <a:off x="719404" y="2189498"/>
          <a:ext cx="11041225" cy="37160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662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345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404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44964">
                <a:tc>
                  <a:txBody>
                    <a:bodyPr/>
                    <a:lstStyle/>
                    <a:p>
                      <a:pPr marL="457200" indent="252095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9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9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Present Simple</a:t>
                      </a:r>
                      <a:r>
                        <a:rPr lang="ru-RU" sz="19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9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900" b="1" kern="1200" dirty="0" smtClean="0">
                          <a:solidFill>
                            <a:schemeClr val="lt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Active</a:t>
                      </a:r>
                      <a:r>
                        <a:rPr lang="en-US" sz="19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9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900" b="1" kern="1200" dirty="0">
                          <a:solidFill>
                            <a:schemeClr val="lt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Present Simple</a:t>
                      </a:r>
                      <a:r>
                        <a:rPr lang="ru-RU" sz="1900" b="1" kern="1200" dirty="0">
                          <a:solidFill>
                            <a:schemeClr val="lt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900" b="1" kern="1200" dirty="0" smtClean="0">
                          <a:solidFill>
                            <a:schemeClr val="lt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900" dirty="0" smtClean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Passive</a:t>
                      </a:r>
                      <a:r>
                        <a:rPr lang="en-US" sz="1900" b="1" kern="1200" dirty="0" smtClean="0">
                          <a:solidFill>
                            <a:schemeClr val="lt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)</a:t>
                      </a:r>
                      <a:endParaRPr lang="ru-RU" sz="1900" b="1" kern="1200" dirty="0">
                        <a:solidFill>
                          <a:schemeClr val="lt1"/>
                        </a:solidFill>
                        <a:effectLst/>
                        <a:latin typeface="Century Gothic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81129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9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Утвердительное (+)</a:t>
                      </a:r>
                      <a:endParaRPr lang="ru-RU" sz="19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_________ + </a:t>
                      </a:r>
                      <a:r>
                        <a:rPr lang="en-US" sz="2400" u="dbl" kern="1200" dirty="0" smtClean="0">
                          <a:solidFill>
                            <a:schemeClr val="dk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1600" u="dbl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u="dbl" baseline="-250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1 / s</a:t>
                      </a:r>
                      <a:endParaRPr lang="ru-RU" sz="16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600" baseline="-250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 </a:t>
                      </a:r>
                      <a:endParaRPr lang="ru-RU" sz="16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__________+ </a:t>
                      </a: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am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/ </a:t>
                      </a: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is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/ </a:t>
                      </a: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are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+ </a:t>
                      </a:r>
                      <a:r>
                        <a:rPr lang="en-US" sz="2400" u="dbl" kern="1200" dirty="0" smtClean="0">
                          <a:solidFill>
                            <a:schemeClr val="dk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1600" u="dbl" baseline="-25000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u="dbl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496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9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Отрицательное (-)</a:t>
                      </a:r>
                      <a:endParaRPr lang="ru-RU" sz="19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_________ </a:t>
                      </a: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do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/ </a:t>
                      </a: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does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not </a:t>
                      </a:r>
                      <a:r>
                        <a:rPr lang="en-US" sz="2400" u="dbl" kern="1200" dirty="0" smtClean="0">
                          <a:solidFill>
                            <a:schemeClr val="dk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1600" u="dbl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u="dbl" baseline="-25000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600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.</a:t>
                      </a:r>
                      <a:endParaRPr lang="ru-RU" sz="16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_______</a:t>
                      </a: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am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/ </a:t>
                      </a: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is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/ </a:t>
                      </a: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are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not +  </a:t>
                      </a:r>
                      <a:r>
                        <a:rPr lang="en-US" sz="2400" u="dbl" kern="1200" dirty="0" smtClean="0">
                          <a:solidFill>
                            <a:schemeClr val="dk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1600" u="dbl" baseline="-25000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.</a:t>
                      </a:r>
                      <a:endParaRPr lang="ru-RU" sz="16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496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ru-RU" sz="1900" dirty="0">
                          <a:effectLst/>
                          <a:latin typeface="Century Gothic" pitchFamily="34" charset="0"/>
                          <a:cs typeface="Times New Roman" panose="02020603050405020304" pitchFamily="18" charset="0"/>
                        </a:rPr>
                        <a:t>Вопросительное (?)</a:t>
                      </a:r>
                      <a:endParaRPr lang="ru-RU" sz="19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Do</a:t>
                      </a:r>
                      <a:r>
                        <a:rPr lang="ru-RU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/ </a:t>
                      </a: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Does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_________ </a:t>
                      </a:r>
                      <a:r>
                        <a:rPr lang="en-US" sz="2400" u="dbl" kern="1200" dirty="0" smtClean="0">
                          <a:solidFill>
                            <a:schemeClr val="dk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1600" u="dbl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600" u="dbl" baseline="-25000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600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?</a:t>
                      </a:r>
                      <a:endParaRPr lang="ru-RU" sz="16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Am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/ </a:t>
                      </a: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Is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/ </a:t>
                      </a:r>
                      <a:r>
                        <a:rPr lang="en-US" sz="1600" u="dbl" baseline="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Are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_________+ </a:t>
                      </a:r>
                      <a:r>
                        <a:rPr lang="en-US" sz="2400" u="dbl" kern="1200" dirty="0" smtClean="0">
                          <a:solidFill>
                            <a:schemeClr val="dk1"/>
                          </a:solidFill>
                          <a:effectLst/>
                          <a:latin typeface="Century Gothic" pitchFamily="34" charset="0"/>
                          <a:ea typeface="+mn-ea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en-US" sz="1600" u="dbl" baseline="-25000" dirty="0" smtClean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1600" dirty="0">
                          <a:effectLst/>
                          <a:latin typeface="Century Gothic" pitchFamily="34" charset="0"/>
                          <a:ea typeface="Calibri"/>
                          <a:cs typeface="Times New Roman" panose="02020603050405020304" pitchFamily="18" charset="0"/>
                        </a:rPr>
                        <a:t>?</a:t>
                      </a:r>
                      <a:endParaRPr lang="ru-RU" sz="1600" dirty="0">
                        <a:effectLst/>
                        <a:latin typeface="Century Gothic" pitchFamily="34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527381" y="1243090"/>
            <a:ext cx="7876509" cy="538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17" tIns="60958" rIns="121917" bIns="60958" numCol="1" anchor="ctr" anchorCtr="0" compatLnSpc="1">
            <a:prstTxWarp prst="textNoShape">
              <a:avLst/>
            </a:prstTxWarp>
            <a:spAutoFit/>
          </a:bodyPr>
          <a:lstStyle>
            <a:lvl1pPr indent="2524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indent="0" defTabSz="1219170"/>
            <a:r>
              <a:rPr lang="ru-RU" altLang="ru-RU" sz="2700" dirty="0">
                <a:latin typeface="Century Gothic" pitchFamily="34" charset="0"/>
                <a:ea typeface="Calibri" pitchFamily="34" charset="0"/>
                <a:cs typeface="Times New Roman" pitchFamily="18" charset="0"/>
              </a:rPr>
              <a:t>Постарайся вспомнить формулы. Напиши:</a:t>
            </a:r>
            <a:endParaRPr lang="ru-RU" altLang="ru-RU" sz="2700" dirty="0">
              <a:latin typeface="Century Gothic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337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19403" y="2660915"/>
            <a:ext cx="10996387" cy="2585323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lvl="0" fontAlgn="base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 or are? 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пиши 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imals in the zoo _______ fed two times a day.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nner _______ always cooked by my mother.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rammar rules </a:t>
            </a:r>
            <a:r>
              <a:rPr lang="en-US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____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ways learnt by heart.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2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724894" y="4643620"/>
            <a:ext cx="807316" cy="615553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10244" name="Picture 4" descr="https://hsto.org/files/36c/d49/8d6/36cd498d6d0d4aa39a4e455d7f58ad9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250" y="1124744"/>
            <a:ext cx="5591540" cy="2385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9579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19403" y="2660915"/>
            <a:ext cx="10996387" cy="2585323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lvl="0" fontAlgn="base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 or are? 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пиши </a:t>
            </a:r>
            <a:endParaRPr lang="en-US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imals in the zoo _______ fed two times a day.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nner _______ always cooked by my mother.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Grammar rules _______ always learnt by heart.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2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336178" y="3626342"/>
            <a:ext cx="807316" cy="615553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76475" y="4102596"/>
            <a:ext cx="519800" cy="615553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724894" y="4643620"/>
            <a:ext cx="807316" cy="615553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10244" name="Picture 4" descr="https://hsto.org/files/36c/d49/8d6/36cd498d6d0d4aa39a4e455d7f58ad9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250" y="1124744"/>
            <a:ext cx="5591540" cy="2385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0021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6550576"/>
              </p:ext>
            </p:extLst>
          </p:nvPr>
        </p:nvGraphicFramePr>
        <p:xfrm>
          <a:off x="911424" y="1892830"/>
          <a:ext cx="10465164" cy="39364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16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162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162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62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84109"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y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e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410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vite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8410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now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8410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ll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050" name="Счетверенная стрелка 32"/>
          <p:cNvSpPr>
            <a:spLocks/>
          </p:cNvSpPr>
          <p:nvPr/>
        </p:nvSpPr>
        <p:spPr bwMode="auto">
          <a:xfrm>
            <a:off x="4476739" y="2952747"/>
            <a:ext cx="762005" cy="762005"/>
          </a:xfrm>
          <a:custGeom>
            <a:avLst/>
            <a:gdLst>
              <a:gd name="T0" fmla="*/ 0 w 276447"/>
              <a:gd name="T1" fmla="*/ 138223 h 276446"/>
              <a:gd name="T2" fmla="*/ 62200 w 276447"/>
              <a:gd name="T3" fmla="*/ 76023 h 276446"/>
              <a:gd name="T4" fmla="*/ 62200 w 276447"/>
              <a:gd name="T5" fmla="*/ 107123 h 276446"/>
              <a:gd name="T6" fmla="*/ 107123 w 276447"/>
              <a:gd name="T7" fmla="*/ 107123 h 276446"/>
              <a:gd name="T8" fmla="*/ 107123 w 276447"/>
              <a:gd name="T9" fmla="*/ 62200 h 276446"/>
              <a:gd name="T10" fmla="*/ 76023 w 276447"/>
              <a:gd name="T11" fmla="*/ 62200 h 276446"/>
              <a:gd name="T12" fmla="*/ 138224 w 276447"/>
              <a:gd name="T13" fmla="*/ 0 h 276446"/>
              <a:gd name="T14" fmla="*/ 200424 w 276447"/>
              <a:gd name="T15" fmla="*/ 62200 h 276446"/>
              <a:gd name="T16" fmla="*/ 169324 w 276447"/>
              <a:gd name="T17" fmla="*/ 62200 h 276446"/>
              <a:gd name="T18" fmla="*/ 169324 w 276447"/>
              <a:gd name="T19" fmla="*/ 107123 h 276446"/>
              <a:gd name="T20" fmla="*/ 214247 w 276447"/>
              <a:gd name="T21" fmla="*/ 107123 h 276446"/>
              <a:gd name="T22" fmla="*/ 214247 w 276447"/>
              <a:gd name="T23" fmla="*/ 76023 h 276446"/>
              <a:gd name="T24" fmla="*/ 276447 w 276447"/>
              <a:gd name="T25" fmla="*/ 138223 h 276446"/>
              <a:gd name="T26" fmla="*/ 214247 w 276447"/>
              <a:gd name="T27" fmla="*/ 200423 h 276446"/>
              <a:gd name="T28" fmla="*/ 214247 w 276447"/>
              <a:gd name="T29" fmla="*/ 169323 h 276446"/>
              <a:gd name="T30" fmla="*/ 169324 w 276447"/>
              <a:gd name="T31" fmla="*/ 169323 h 276446"/>
              <a:gd name="T32" fmla="*/ 169324 w 276447"/>
              <a:gd name="T33" fmla="*/ 214246 h 276446"/>
              <a:gd name="T34" fmla="*/ 200424 w 276447"/>
              <a:gd name="T35" fmla="*/ 214246 h 276446"/>
              <a:gd name="T36" fmla="*/ 138224 w 276447"/>
              <a:gd name="T37" fmla="*/ 276446 h 276446"/>
              <a:gd name="T38" fmla="*/ 76023 w 276447"/>
              <a:gd name="T39" fmla="*/ 214246 h 276446"/>
              <a:gd name="T40" fmla="*/ 107123 w 276447"/>
              <a:gd name="T41" fmla="*/ 214246 h 276446"/>
              <a:gd name="T42" fmla="*/ 107123 w 276447"/>
              <a:gd name="T43" fmla="*/ 169323 h 276446"/>
              <a:gd name="T44" fmla="*/ 62200 w 276447"/>
              <a:gd name="T45" fmla="*/ 169323 h 276446"/>
              <a:gd name="T46" fmla="*/ 62200 w 276447"/>
              <a:gd name="T47" fmla="*/ 200423 h 276446"/>
              <a:gd name="T48" fmla="*/ 0 w 276447"/>
              <a:gd name="T49" fmla="*/ 138223 h 27644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76447" h="276446">
                <a:moveTo>
                  <a:pt x="0" y="138223"/>
                </a:moveTo>
                <a:lnTo>
                  <a:pt x="62200" y="76023"/>
                </a:lnTo>
                <a:lnTo>
                  <a:pt x="62200" y="107123"/>
                </a:lnTo>
                <a:lnTo>
                  <a:pt x="107123" y="107123"/>
                </a:lnTo>
                <a:lnTo>
                  <a:pt x="107123" y="62200"/>
                </a:lnTo>
                <a:lnTo>
                  <a:pt x="76023" y="62200"/>
                </a:lnTo>
                <a:lnTo>
                  <a:pt x="138224" y="0"/>
                </a:lnTo>
                <a:lnTo>
                  <a:pt x="200424" y="62200"/>
                </a:lnTo>
                <a:lnTo>
                  <a:pt x="169324" y="62200"/>
                </a:lnTo>
                <a:lnTo>
                  <a:pt x="169324" y="107123"/>
                </a:lnTo>
                <a:lnTo>
                  <a:pt x="214247" y="107123"/>
                </a:lnTo>
                <a:lnTo>
                  <a:pt x="214247" y="76023"/>
                </a:lnTo>
                <a:lnTo>
                  <a:pt x="276447" y="138223"/>
                </a:lnTo>
                <a:lnTo>
                  <a:pt x="214247" y="200423"/>
                </a:lnTo>
                <a:lnTo>
                  <a:pt x="214247" y="169323"/>
                </a:lnTo>
                <a:lnTo>
                  <a:pt x="169324" y="169323"/>
                </a:lnTo>
                <a:lnTo>
                  <a:pt x="169324" y="214246"/>
                </a:lnTo>
                <a:lnTo>
                  <a:pt x="200424" y="214246"/>
                </a:lnTo>
                <a:lnTo>
                  <a:pt x="138224" y="276446"/>
                </a:lnTo>
                <a:lnTo>
                  <a:pt x="76023" y="214246"/>
                </a:lnTo>
                <a:lnTo>
                  <a:pt x="107123" y="214246"/>
                </a:lnTo>
                <a:lnTo>
                  <a:pt x="107123" y="169323"/>
                </a:lnTo>
                <a:lnTo>
                  <a:pt x="62200" y="169323"/>
                </a:lnTo>
                <a:lnTo>
                  <a:pt x="62200" y="200423"/>
                </a:lnTo>
                <a:lnTo>
                  <a:pt x="0" y="138223"/>
                </a:lnTo>
                <a:close/>
              </a:path>
            </a:pathLst>
          </a:cu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1" name="Овал 36"/>
          <p:cNvSpPr>
            <a:spLocks noChangeArrowheads="1"/>
          </p:cNvSpPr>
          <p:nvPr/>
        </p:nvSpPr>
        <p:spPr bwMode="auto">
          <a:xfrm>
            <a:off x="7143758" y="2962907"/>
            <a:ext cx="789220" cy="762005"/>
          </a:xfrm>
          <a:prstGeom prst="ellipse">
            <a:avLst/>
          </a:pr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Овал 36"/>
          <p:cNvSpPr>
            <a:spLocks noChangeArrowheads="1"/>
          </p:cNvSpPr>
          <p:nvPr/>
        </p:nvSpPr>
        <p:spPr bwMode="auto">
          <a:xfrm>
            <a:off x="7143758" y="4000504"/>
            <a:ext cx="789220" cy="762005"/>
          </a:xfrm>
          <a:prstGeom prst="ellipse">
            <a:avLst/>
          </a:pr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Овал 36"/>
          <p:cNvSpPr>
            <a:spLocks noChangeArrowheads="1"/>
          </p:cNvSpPr>
          <p:nvPr/>
        </p:nvSpPr>
        <p:spPr bwMode="auto">
          <a:xfrm>
            <a:off x="4476739" y="4000504"/>
            <a:ext cx="789220" cy="762005"/>
          </a:xfrm>
          <a:prstGeom prst="ellipse">
            <a:avLst/>
          </a:pr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Овал 36"/>
          <p:cNvSpPr>
            <a:spLocks noChangeArrowheads="1"/>
          </p:cNvSpPr>
          <p:nvPr/>
        </p:nvSpPr>
        <p:spPr bwMode="auto">
          <a:xfrm>
            <a:off x="9715526" y="4000504"/>
            <a:ext cx="789220" cy="762005"/>
          </a:xfrm>
          <a:prstGeom prst="ellipse">
            <a:avLst/>
          </a:pr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Овал 36"/>
          <p:cNvSpPr>
            <a:spLocks noChangeArrowheads="1"/>
          </p:cNvSpPr>
          <p:nvPr/>
        </p:nvSpPr>
        <p:spPr bwMode="auto">
          <a:xfrm>
            <a:off x="7143758" y="4953011"/>
            <a:ext cx="789220" cy="762005"/>
          </a:xfrm>
          <a:prstGeom prst="ellipse">
            <a:avLst/>
          </a:pr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Счетверенная стрелка 32"/>
          <p:cNvSpPr>
            <a:spLocks/>
          </p:cNvSpPr>
          <p:nvPr/>
        </p:nvSpPr>
        <p:spPr bwMode="auto">
          <a:xfrm>
            <a:off x="9715526" y="2952747"/>
            <a:ext cx="762005" cy="762005"/>
          </a:xfrm>
          <a:custGeom>
            <a:avLst/>
            <a:gdLst>
              <a:gd name="T0" fmla="*/ 0 w 276447"/>
              <a:gd name="T1" fmla="*/ 138223 h 276446"/>
              <a:gd name="T2" fmla="*/ 62200 w 276447"/>
              <a:gd name="T3" fmla="*/ 76023 h 276446"/>
              <a:gd name="T4" fmla="*/ 62200 w 276447"/>
              <a:gd name="T5" fmla="*/ 107123 h 276446"/>
              <a:gd name="T6" fmla="*/ 107123 w 276447"/>
              <a:gd name="T7" fmla="*/ 107123 h 276446"/>
              <a:gd name="T8" fmla="*/ 107123 w 276447"/>
              <a:gd name="T9" fmla="*/ 62200 h 276446"/>
              <a:gd name="T10" fmla="*/ 76023 w 276447"/>
              <a:gd name="T11" fmla="*/ 62200 h 276446"/>
              <a:gd name="T12" fmla="*/ 138224 w 276447"/>
              <a:gd name="T13" fmla="*/ 0 h 276446"/>
              <a:gd name="T14" fmla="*/ 200424 w 276447"/>
              <a:gd name="T15" fmla="*/ 62200 h 276446"/>
              <a:gd name="T16" fmla="*/ 169324 w 276447"/>
              <a:gd name="T17" fmla="*/ 62200 h 276446"/>
              <a:gd name="T18" fmla="*/ 169324 w 276447"/>
              <a:gd name="T19" fmla="*/ 107123 h 276446"/>
              <a:gd name="T20" fmla="*/ 214247 w 276447"/>
              <a:gd name="T21" fmla="*/ 107123 h 276446"/>
              <a:gd name="T22" fmla="*/ 214247 w 276447"/>
              <a:gd name="T23" fmla="*/ 76023 h 276446"/>
              <a:gd name="T24" fmla="*/ 276447 w 276447"/>
              <a:gd name="T25" fmla="*/ 138223 h 276446"/>
              <a:gd name="T26" fmla="*/ 214247 w 276447"/>
              <a:gd name="T27" fmla="*/ 200423 h 276446"/>
              <a:gd name="T28" fmla="*/ 214247 w 276447"/>
              <a:gd name="T29" fmla="*/ 169323 h 276446"/>
              <a:gd name="T30" fmla="*/ 169324 w 276447"/>
              <a:gd name="T31" fmla="*/ 169323 h 276446"/>
              <a:gd name="T32" fmla="*/ 169324 w 276447"/>
              <a:gd name="T33" fmla="*/ 214246 h 276446"/>
              <a:gd name="T34" fmla="*/ 200424 w 276447"/>
              <a:gd name="T35" fmla="*/ 214246 h 276446"/>
              <a:gd name="T36" fmla="*/ 138224 w 276447"/>
              <a:gd name="T37" fmla="*/ 276446 h 276446"/>
              <a:gd name="T38" fmla="*/ 76023 w 276447"/>
              <a:gd name="T39" fmla="*/ 214246 h 276446"/>
              <a:gd name="T40" fmla="*/ 107123 w 276447"/>
              <a:gd name="T41" fmla="*/ 214246 h 276446"/>
              <a:gd name="T42" fmla="*/ 107123 w 276447"/>
              <a:gd name="T43" fmla="*/ 169323 h 276446"/>
              <a:gd name="T44" fmla="*/ 62200 w 276447"/>
              <a:gd name="T45" fmla="*/ 169323 h 276446"/>
              <a:gd name="T46" fmla="*/ 62200 w 276447"/>
              <a:gd name="T47" fmla="*/ 200423 h 276446"/>
              <a:gd name="T48" fmla="*/ 0 w 276447"/>
              <a:gd name="T49" fmla="*/ 138223 h 27644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76447" h="276446">
                <a:moveTo>
                  <a:pt x="0" y="138223"/>
                </a:moveTo>
                <a:lnTo>
                  <a:pt x="62200" y="76023"/>
                </a:lnTo>
                <a:lnTo>
                  <a:pt x="62200" y="107123"/>
                </a:lnTo>
                <a:lnTo>
                  <a:pt x="107123" y="107123"/>
                </a:lnTo>
                <a:lnTo>
                  <a:pt x="107123" y="62200"/>
                </a:lnTo>
                <a:lnTo>
                  <a:pt x="76023" y="62200"/>
                </a:lnTo>
                <a:lnTo>
                  <a:pt x="138224" y="0"/>
                </a:lnTo>
                <a:lnTo>
                  <a:pt x="200424" y="62200"/>
                </a:lnTo>
                <a:lnTo>
                  <a:pt x="169324" y="62200"/>
                </a:lnTo>
                <a:lnTo>
                  <a:pt x="169324" y="107123"/>
                </a:lnTo>
                <a:lnTo>
                  <a:pt x="214247" y="107123"/>
                </a:lnTo>
                <a:lnTo>
                  <a:pt x="214247" y="76023"/>
                </a:lnTo>
                <a:lnTo>
                  <a:pt x="276447" y="138223"/>
                </a:lnTo>
                <a:lnTo>
                  <a:pt x="214247" y="200423"/>
                </a:lnTo>
                <a:lnTo>
                  <a:pt x="214247" y="169323"/>
                </a:lnTo>
                <a:lnTo>
                  <a:pt x="169324" y="169323"/>
                </a:lnTo>
                <a:lnTo>
                  <a:pt x="169324" y="214246"/>
                </a:lnTo>
                <a:lnTo>
                  <a:pt x="200424" y="214246"/>
                </a:lnTo>
                <a:lnTo>
                  <a:pt x="138224" y="276446"/>
                </a:lnTo>
                <a:lnTo>
                  <a:pt x="76023" y="214246"/>
                </a:lnTo>
                <a:lnTo>
                  <a:pt x="107123" y="214246"/>
                </a:lnTo>
                <a:lnTo>
                  <a:pt x="107123" y="169323"/>
                </a:lnTo>
                <a:lnTo>
                  <a:pt x="62200" y="169323"/>
                </a:lnTo>
                <a:lnTo>
                  <a:pt x="62200" y="200423"/>
                </a:lnTo>
                <a:lnTo>
                  <a:pt x="0" y="138223"/>
                </a:lnTo>
                <a:close/>
              </a:path>
            </a:pathLst>
          </a:cu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Счетверенная стрелка 32"/>
          <p:cNvSpPr>
            <a:spLocks/>
          </p:cNvSpPr>
          <p:nvPr/>
        </p:nvSpPr>
        <p:spPr bwMode="auto">
          <a:xfrm>
            <a:off x="4476739" y="4953011"/>
            <a:ext cx="762005" cy="762005"/>
          </a:xfrm>
          <a:custGeom>
            <a:avLst/>
            <a:gdLst>
              <a:gd name="T0" fmla="*/ 0 w 276447"/>
              <a:gd name="T1" fmla="*/ 138223 h 276446"/>
              <a:gd name="T2" fmla="*/ 62200 w 276447"/>
              <a:gd name="T3" fmla="*/ 76023 h 276446"/>
              <a:gd name="T4" fmla="*/ 62200 w 276447"/>
              <a:gd name="T5" fmla="*/ 107123 h 276446"/>
              <a:gd name="T6" fmla="*/ 107123 w 276447"/>
              <a:gd name="T7" fmla="*/ 107123 h 276446"/>
              <a:gd name="T8" fmla="*/ 107123 w 276447"/>
              <a:gd name="T9" fmla="*/ 62200 h 276446"/>
              <a:gd name="T10" fmla="*/ 76023 w 276447"/>
              <a:gd name="T11" fmla="*/ 62200 h 276446"/>
              <a:gd name="T12" fmla="*/ 138224 w 276447"/>
              <a:gd name="T13" fmla="*/ 0 h 276446"/>
              <a:gd name="T14" fmla="*/ 200424 w 276447"/>
              <a:gd name="T15" fmla="*/ 62200 h 276446"/>
              <a:gd name="T16" fmla="*/ 169324 w 276447"/>
              <a:gd name="T17" fmla="*/ 62200 h 276446"/>
              <a:gd name="T18" fmla="*/ 169324 w 276447"/>
              <a:gd name="T19" fmla="*/ 107123 h 276446"/>
              <a:gd name="T20" fmla="*/ 214247 w 276447"/>
              <a:gd name="T21" fmla="*/ 107123 h 276446"/>
              <a:gd name="T22" fmla="*/ 214247 w 276447"/>
              <a:gd name="T23" fmla="*/ 76023 h 276446"/>
              <a:gd name="T24" fmla="*/ 276447 w 276447"/>
              <a:gd name="T25" fmla="*/ 138223 h 276446"/>
              <a:gd name="T26" fmla="*/ 214247 w 276447"/>
              <a:gd name="T27" fmla="*/ 200423 h 276446"/>
              <a:gd name="T28" fmla="*/ 214247 w 276447"/>
              <a:gd name="T29" fmla="*/ 169323 h 276446"/>
              <a:gd name="T30" fmla="*/ 169324 w 276447"/>
              <a:gd name="T31" fmla="*/ 169323 h 276446"/>
              <a:gd name="T32" fmla="*/ 169324 w 276447"/>
              <a:gd name="T33" fmla="*/ 214246 h 276446"/>
              <a:gd name="T34" fmla="*/ 200424 w 276447"/>
              <a:gd name="T35" fmla="*/ 214246 h 276446"/>
              <a:gd name="T36" fmla="*/ 138224 w 276447"/>
              <a:gd name="T37" fmla="*/ 276446 h 276446"/>
              <a:gd name="T38" fmla="*/ 76023 w 276447"/>
              <a:gd name="T39" fmla="*/ 214246 h 276446"/>
              <a:gd name="T40" fmla="*/ 107123 w 276447"/>
              <a:gd name="T41" fmla="*/ 214246 h 276446"/>
              <a:gd name="T42" fmla="*/ 107123 w 276447"/>
              <a:gd name="T43" fmla="*/ 169323 h 276446"/>
              <a:gd name="T44" fmla="*/ 62200 w 276447"/>
              <a:gd name="T45" fmla="*/ 169323 h 276446"/>
              <a:gd name="T46" fmla="*/ 62200 w 276447"/>
              <a:gd name="T47" fmla="*/ 200423 h 276446"/>
              <a:gd name="T48" fmla="*/ 0 w 276447"/>
              <a:gd name="T49" fmla="*/ 138223 h 27644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76447" h="276446">
                <a:moveTo>
                  <a:pt x="0" y="138223"/>
                </a:moveTo>
                <a:lnTo>
                  <a:pt x="62200" y="76023"/>
                </a:lnTo>
                <a:lnTo>
                  <a:pt x="62200" y="107123"/>
                </a:lnTo>
                <a:lnTo>
                  <a:pt x="107123" y="107123"/>
                </a:lnTo>
                <a:lnTo>
                  <a:pt x="107123" y="62200"/>
                </a:lnTo>
                <a:lnTo>
                  <a:pt x="76023" y="62200"/>
                </a:lnTo>
                <a:lnTo>
                  <a:pt x="138224" y="0"/>
                </a:lnTo>
                <a:lnTo>
                  <a:pt x="200424" y="62200"/>
                </a:lnTo>
                <a:lnTo>
                  <a:pt x="169324" y="62200"/>
                </a:lnTo>
                <a:lnTo>
                  <a:pt x="169324" y="107123"/>
                </a:lnTo>
                <a:lnTo>
                  <a:pt x="214247" y="107123"/>
                </a:lnTo>
                <a:lnTo>
                  <a:pt x="214247" y="76023"/>
                </a:lnTo>
                <a:lnTo>
                  <a:pt x="276447" y="138223"/>
                </a:lnTo>
                <a:lnTo>
                  <a:pt x="214247" y="200423"/>
                </a:lnTo>
                <a:lnTo>
                  <a:pt x="214247" y="169323"/>
                </a:lnTo>
                <a:lnTo>
                  <a:pt x="169324" y="169323"/>
                </a:lnTo>
                <a:lnTo>
                  <a:pt x="169324" y="214246"/>
                </a:lnTo>
                <a:lnTo>
                  <a:pt x="200424" y="214246"/>
                </a:lnTo>
                <a:lnTo>
                  <a:pt x="138224" y="276446"/>
                </a:lnTo>
                <a:lnTo>
                  <a:pt x="76023" y="214246"/>
                </a:lnTo>
                <a:lnTo>
                  <a:pt x="107123" y="214246"/>
                </a:lnTo>
                <a:lnTo>
                  <a:pt x="107123" y="169323"/>
                </a:lnTo>
                <a:lnTo>
                  <a:pt x="62200" y="169323"/>
                </a:lnTo>
                <a:lnTo>
                  <a:pt x="62200" y="200423"/>
                </a:lnTo>
                <a:lnTo>
                  <a:pt x="0" y="138223"/>
                </a:lnTo>
                <a:close/>
              </a:path>
            </a:pathLst>
          </a:cu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Счетверенная стрелка 32"/>
          <p:cNvSpPr>
            <a:spLocks/>
          </p:cNvSpPr>
          <p:nvPr/>
        </p:nvSpPr>
        <p:spPr bwMode="auto">
          <a:xfrm>
            <a:off x="9715526" y="4953011"/>
            <a:ext cx="762005" cy="762005"/>
          </a:xfrm>
          <a:custGeom>
            <a:avLst/>
            <a:gdLst>
              <a:gd name="T0" fmla="*/ 0 w 276447"/>
              <a:gd name="T1" fmla="*/ 138223 h 276446"/>
              <a:gd name="T2" fmla="*/ 62200 w 276447"/>
              <a:gd name="T3" fmla="*/ 76023 h 276446"/>
              <a:gd name="T4" fmla="*/ 62200 w 276447"/>
              <a:gd name="T5" fmla="*/ 107123 h 276446"/>
              <a:gd name="T6" fmla="*/ 107123 w 276447"/>
              <a:gd name="T7" fmla="*/ 107123 h 276446"/>
              <a:gd name="T8" fmla="*/ 107123 w 276447"/>
              <a:gd name="T9" fmla="*/ 62200 h 276446"/>
              <a:gd name="T10" fmla="*/ 76023 w 276447"/>
              <a:gd name="T11" fmla="*/ 62200 h 276446"/>
              <a:gd name="T12" fmla="*/ 138224 w 276447"/>
              <a:gd name="T13" fmla="*/ 0 h 276446"/>
              <a:gd name="T14" fmla="*/ 200424 w 276447"/>
              <a:gd name="T15" fmla="*/ 62200 h 276446"/>
              <a:gd name="T16" fmla="*/ 169324 w 276447"/>
              <a:gd name="T17" fmla="*/ 62200 h 276446"/>
              <a:gd name="T18" fmla="*/ 169324 w 276447"/>
              <a:gd name="T19" fmla="*/ 107123 h 276446"/>
              <a:gd name="T20" fmla="*/ 214247 w 276447"/>
              <a:gd name="T21" fmla="*/ 107123 h 276446"/>
              <a:gd name="T22" fmla="*/ 214247 w 276447"/>
              <a:gd name="T23" fmla="*/ 76023 h 276446"/>
              <a:gd name="T24" fmla="*/ 276447 w 276447"/>
              <a:gd name="T25" fmla="*/ 138223 h 276446"/>
              <a:gd name="T26" fmla="*/ 214247 w 276447"/>
              <a:gd name="T27" fmla="*/ 200423 h 276446"/>
              <a:gd name="T28" fmla="*/ 214247 w 276447"/>
              <a:gd name="T29" fmla="*/ 169323 h 276446"/>
              <a:gd name="T30" fmla="*/ 169324 w 276447"/>
              <a:gd name="T31" fmla="*/ 169323 h 276446"/>
              <a:gd name="T32" fmla="*/ 169324 w 276447"/>
              <a:gd name="T33" fmla="*/ 214246 h 276446"/>
              <a:gd name="T34" fmla="*/ 200424 w 276447"/>
              <a:gd name="T35" fmla="*/ 214246 h 276446"/>
              <a:gd name="T36" fmla="*/ 138224 w 276447"/>
              <a:gd name="T37" fmla="*/ 276446 h 276446"/>
              <a:gd name="T38" fmla="*/ 76023 w 276447"/>
              <a:gd name="T39" fmla="*/ 214246 h 276446"/>
              <a:gd name="T40" fmla="*/ 107123 w 276447"/>
              <a:gd name="T41" fmla="*/ 214246 h 276446"/>
              <a:gd name="T42" fmla="*/ 107123 w 276447"/>
              <a:gd name="T43" fmla="*/ 169323 h 276446"/>
              <a:gd name="T44" fmla="*/ 62200 w 276447"/>
              <a:gd name="T45" fmla="*/ 169323 h 276446"/>
              <a:gd name="T46" fmla="*/ 62200 w 276447"/>
              <a:gd name="T47" fmla="*/ 200423 h 276446"/>
              <a:gd name="T48" fmla="*/ 0 w 276447"/>
              <a:gd name="T49" fmla="*/ 138223 h 27644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76447" h="276446">
                <a:moveTo>
                  <a:pt x="0" y="138223"/>
                </a:moveTo>
                <a:lnTo>
                  <a:pt x="62200" y="76023"/>
                </a:lnTo>
                <a:lnTo>
                  <a:pt x="62200" y="107123"/>
                </a:lnTo>
                <a:lnTo>
                  <a:pt x="107123" y="107123"/>
                </a:lnTo>
                <a:lnTo>
                  <a:pt x="107123" y="62200"/>
                </a:lnTo>
                <a:lnTo>
                  <a:pt x="76023" y="62200"/>
                </a:lnTo>
                <a:lnTo>
                  <a:pt x="138224" y="0"/>
                </a:lnTo>
                <a:lnTo>
                  <a:pt x="200424" y="62200"/>
                </a:lnTo>
                <a:lnTo>
                  <a:pt x="169324" y="62200"/>
                </a:lnTo>
                <a:lnTo>
                  <a:pt x="169324" y="107123"/>
                </a:lnTo>
                <a:lnTo>
                  <a:pt x="214247" y="107123"/>
                </a:lnTo>
                <a:lnTo>
                  <a:pt x="214247" y="76023"/>
                </a:lnTo>
                <a:lnTo>
                  <a:pt x="276447" y="138223"/>
                </a:lnTo>
                <a:lnTo>
                  <a:pt x="214247" y="200423"/>
                </a:lnTo>
                <a:lnTo>
                  <a:pt x="214247" y="169323"/>
                </a:lnTo>
                <a:lnTo>
                  <a:pt x="169324" y="169323"/>
                </a:lnTo>
                <a:lnTo>
                  <a:pt x="169324" y="214246"/>
                </a:lnTo>
                <a:lnTo>
                  <a:pt x="200424" y="214246"/>
                </a:lnTo>
                <a:lnTo>
                  <a:pt x="138224" y="276446"/>
                </a:lnTo>
                <a:lnTo>
                  <a:pt x="76023" y="214246"/>
                </a:lnTo>
                <a:lnTo>
                  <a:pt x="107123" y="214246"/>
                </a:lnTo>
                <a:lnTo>
                  <a:pt x="107123" y="169323"/>
                </a:lnTo>
                <a:lnTo>
                  <a:pt x="62200" y="169323"/>
                </a:lnTo>
                <a:lnTo>
                  <a:pt x="62200" y="200423"/>
                </a:lnTo>
                <a:lnTo>
                  <a:pt x="0" y="138223"/>
                </a:lnTo>
                <a:close/>
              </a:path>
            </a:pathLst>
          </a:cu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2793116" y="181669"/>
            <a:ext cx="2015930" cy="954103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54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Game</a:t>
            </a:r>
            <a:endParaRPr lang="ru-RU" sz="54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195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0" grpId="0" animBg="1"/>
      <p:bldP spid="2051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3058304"/>
              </p:ext>
            </p:extLst>
          </p:nvPr>
        </p:nvGraphicFramePr>
        <p:xfrm>
          <a:off x="911424" y="1892830"/>
          <a:ext cx="10465164" cy="393643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16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162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162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62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84109"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hey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he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410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nvite</a:t>
                      </a:r>
                      <a:r>
                        <a:rPr lang="ru-RU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8410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now?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8410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ot call.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21920" marR="121920" marT="60960" marB="60960" anchor="ctr">
                    <a:solidFill>
                      <a:srgbClr val="EBFD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050" name="Счетверенная стрелка 32"/>
          <p:cNvSpPr>
            <a:spLocks/>
          </p:cNvSpPr>
          <p:nvPr/>
        </p:nvSpPr>
        <p:spPr bwMode="auto">
          <a:xfrm>
            <a:off x="4476739" y="2952747"/>
            <a:ext cx="762005" cy="762005"/>
          </a:xfrm>
          <a:custGeom>
            <a:avLst/>
            <a:gdLst>
              <a:gd name="T0" fmla="*/ 0 w 276447"/>
              <a:gd name="T1" fmla="*/ 138223 h 276446"/>
              <a:gd name="T2" fmla="*/ 62200 w 276447"/>
              <a:gd name="T3" fmla="*/ 76023 h 276446"/>
              <a:gd name="T4" fmla="*/ 62200 w 276447"/>
              <a:gd name="T5" fmla="*/ 107123 h 276446"/>
              <a:gd name="T6" fmla="*/ 107123 w 276447"/>
              <a:gd name="T7" fmla="*/ 107123 h 276446"/>
              <a:gd name="T8" fmla="*/ 107123 w 276447"/>
              <a:gd name="T9" fmla="*/ 62200 h 276446"/>
              <a:gd name="T10" fmla="*/ 76023 w 276447"/>
              <a:gd name="T11" fmla="*/ 62200 h 276446"/>
              <a:gd name="T12" fmla="*/ 138224 w 276447"/>
              <a:gd name="T13" fmla="*/ 0 h 276446"/>
              <a:gd name="T14" fmla="*/ 200424 w 276447"/>
              <a:gd name="T15" fmla="*/ 62200 h 276446"/>
              <a:gd name="T16" fmla="*/ 169324 w 276447"/>
              <a:gd name="T17" fmla="*/ 62200 h 276446"/>
              <a:gd name="T18" fmla="*/ 169324 w 276447"/>
              <a:gd name="T19" fmla="*/ 107123 h 276446"/>
              <a:gd name="T20" fmla="*/ 214247 w 276447"/>
              <a:gd name="T21" fmla="*/ 107123 h 276446"/>
              <a:gd name="T22" fmla="*/ 214247 w 276447"/>
              <a:gd name="T23" fmla="*/ 76023 h 276446"/>
              <a:gd name="T24" fmla="*/ 276447 w 276447"/>
              <a:gd name="T25" fmla="*/ 138223 h 276446"/>
              <a:gd name="T26" fmla="*/ 214247 w 276447"/>
              <a:gd name="T27" fmla="*/ 200423 h 276446"/>
              <a:gd name="T28" fmla="*/ 214247 w 276447"/>
              <a:gd name="T29" fmla="*/ 169323 h 276446"/>
              <a:gd name="T30" fmla="*/ 169324 w 276447"/>
              <a:gd name="T31" fmla="*/ 169323 h 276446"/>
              <a:gd name="T32" fmla="*/ 169324 w 276447"/>
              <a:gd name="T33" fmla="*/ 214246 h 276446"/>
              <a:gd name="T34" fmla="*/ 200424 w 276447"/>
              <a:gd name="T35" fmla="*/ 214246 h 276446"/>
              <a:gd name="T36" fmla="*/ 138224 w 276447"/>
              <a:gd name="T37" fmla="*/ 276446 h 276446"/>
              <a:gd name="T38" fmla="*/ 76023 w 276447"/>
              <a:gd name="T39" fmla="*/ 214246 h 276446"/>
              <a:gd name="T40" fmla="*/ 107123 w 276447"/>
              <a:gd name="T41" fmla="*/ 214246 h 276446"/>
              <a:gd name="T42" fmla="*/ 107123 w 276447"/>
              <a:gd name="T43" fmla="*/ 169323 h 276446"/>
              <a:gd name="T44" fmla="*/ 62200 w 276447"/>
              <a:gd name="T45" fmla="*/ 169323 h 276446"/>
              <a:gd name="T46" fmla="*/ 62200 w 276447"/>
              <a:gd name="T47" fmla="*/ 200423 h 276446"/>
              <a:gd name="T48" fmla="*/ 0 w 276447"/>
              <a:gd name="T49" fmla="*/ 138223 h 27644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76447" h="276446">
                <a:moveTo>
                  <a:pt x="0" y="138223"/>
                </a:moveTo>
                <a:lnTo>
                  <a:pt x="62200" y="76023"/>
                </a:lnTo>
                <a:lnTo>
                  <a:pt x="62200" y="107123"/>
                </a:lnTo>
                <a:lnTo>
                  <a:pt x="107123" y="107123"/>
                </a:lnTo>
                <a:lnTo>
                  <a:pt x="107123" y="62200"/>
                </a:lnTo>
                <a:lnTo>
                  <a:pt x="76023" y="62200"/>
                </a:lnTo>
                <a:lnTo>
                  <a:pt x="138224" y="0"/>
                </a:lnTo>
                <a:lnTo>
                  <a:pt x="200424" y="62200"/>
                </a:lnTo>
                <a:lnTo>
                  <a:pt x="169324" y="62200"/>
                </a:lnTo>
                <a:lnTo>
                  <a:pt x="169324" y="107123"/>
                </a:lnTo>
                <a:lnTo>
                  <a:pt x="214247" y="107123"/>
                </a:lnTo>
                <a:lnTo>
                  <a:pt x="214247" y="76023"/>
                </a:lnTo>
                <a:lnTo>
                  <a:pt x="276447" y="138223"/>
                </a:lnTo>
                <a:lnTo>
                  <a:pt x="214247" y="200423"/>
                </a:lnTo>
                <a:lnTo>
                  <a:pt x="214247" y="169323"/>
                </a:lnTo>
                <a:lnTo>
                  <a:pt x="169324" y="169323"/>
                </a:lnTo>
                <a:lnTo>
                  <a:pt x="169324" y="214246"/>
                </a:lnTo>
                <a:lnTo>
                  <a:pt x="200424" y="214246"/>
                </a:lnTo>
                <a:lnTo>
                  <a:pt x="138224" y="276446"/>
                </a:lnTo>
                <a:lnTo>
                  <a:pt x="76023" y="214246"/>
                </a:lnTo>
                <a:lnTo>
                  <a:pt x="107123" y="214246"/>
                </a:lnTo>
                <a:lnTo>
                  <a:pt x="107123" y="169323"/>
                </a:lnTo>
                <a:lnTo>
                  <a:pt x="62200" y="169323"/>
                </a:lnTo>
                <a:lnTo>
                  <a:pt x="62200" y="200423"/>
                </a:lnTo>
                <a:lnTo>
                  <a:pt x="0" y="138223"/>
                </a:lnTo>
                <a:close/>
              </a:path>
            </a:pathLst>
          </a:cu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51" name="Овал 36"/>
          <p:cNvSpPr>
            <a:spLocks noChangeArrowheads="1"/>
          </p:cNvSpPr>
          <p:nvPr/>
        </p:nvSpPr>
        <p:spPr bwMode="auto">
          <a:xfrm>
            <a:off x="7143758" y="2962907"/>
            <a:ext cx="789220" cy="762005"/>
          </a:xfrm>
          <a:prstGeom prst="ellipse">
            <a:avLst/>
          </a:pr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Овал 36"/>
          <p:cNvSpPr>
            <a:spLocks noChangeArrowheads="1"/>
          </p:cNvSpPr>
          <p:nvPr/>
        </p:nvSpPr>
        <p:spPr bwMode="auto">
          <a:xfrm>
            <a:off x="7143758" y="4000504"/>
            <a:ext cx="789220" cy="762005"/>
          </a:xfrm>
          <a:prstGeom prst="ellipse">
            <a:avLst/>
          </a:pr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Овал 36"/>
          <p:cNvSpPr>
            <a:spLocks noChangeArrowheads="1"/>
          </p:cNvSpPr>
          <p:nvPr/>
        </p:nvSpPr>
        <p:spPr bwMode="auto">
          <a:xfrm>
            <a:off x="4476739" y="4000504"/>
            <a:ext cx="789220" cy="762005"/>
          </a:xfrm>
          <a:prstGeom prst="ellipse">
            <a:avLst/>
          </a:pr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Овал 36"/>
          <p:cNvSpPr>
            <a:spLocks noChangeArrowheads="1"/>
          </p:cNvSpPr>
          <p:nvPr/>
        </p:nvSpPr>
        <p:spPr bwMode="auto">
          <a:xfrm>
            <a:off x="9688311" y="4953011"/>
            <a:ext cx="789220" cy="762005"/>
          </a:xfrm>
          <a:prstGeom prst="ellipse">
            <a:avLst/>
          </a:pr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Овал 36"/>
          <p:cNvSpPr>
            <a:spLocks noChangeArrowheads="1"/>
          </p:cNvSpPr>
          <p:nvPr/>
        </p:nvSpPr>
        <p:spPr bwMode="auto">
          <a:xfrm>
            <a:off x="7143758" y="4953011"/>
            <a:ext cx="789220" cy="762005"/>
          </a:xfrm>
          <a:prstGeom prst="ellipse">
            <a:avLst/>
          </a:pr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Счетверенная стрелка 32"/>
          <p:cNvSpPr>
            <a:spLocks/>
          </p:cNvSpPr>
          <p:nvPr/>
        </p:nvSpPr>
        <p:spPr bwMode="auto">
          <a:xfrm>
            <a:off x="9662643" y="4000504"/>
            <a:ext cx="762005" cy="762005"/>
          </a:xfrm>
          <a:custGeom>
            <a:avLst/>
            <a:gdLst>
              <a:gd name="T0" fmla="*/ 0 w 276447"/>
              <a:gd name="T1" fmla="*/ 138223 h 276446"/>
              <a:gd name="T2" fmla="*/ 62200 w 276447"/>
              <a:gd name="T3" fmla="*/ 76023 h 276446"/>
              <a:gd name="T4" fmla="*/ 62200 w 276447"/>
              <a:gd name="T5" fmla="*/ 107123 h 276446"/>
              <a:gd name="T6" fmla="*/ 107123 w 276447"/>
              <a:gd name="T7" fmla="*/ 107123 h 276446"/>
              <a:gd name="T8" fmla="*/ 107123 w 276447"/>
              <a:gd name="T9" fmla="*/ 62200 h 276446"/>
              <a:gd name="T10" fmla="*/ 76023 w 276447"/>
              <a:gd name="T11" fmla="*/ 62200 h 276446"/>
              <a:gd name="T12" fmla="*/ 138224 w 276447"/>
              <a:gd name="T13" fmla="*/ 0 h 276446"/>
              <a:gd name="T14" fmla="*/ 200424 w 276447"/>
              <a:gd name="T15" fmla="*/ 62200 h 276446"/>
              <a:gd name="T16" fmla="*/ 169324 w 276447"/>
              <a:gd name="T17" fmla="*/ 62200 h 276446"/>
              <a:gd name="T18" fmla="*/ 169324 w 276447"/>
              <a:gd name="T19" fmla="*/ 107123 h 276446"/>
              <a:gd name="T20" fmla="*/ 214247 w 276447"/>
              <a:gd name="T21" fmla="*/ 107123 h 276446"/>
              <a:gd name="T22" fmla="*/ 214247 w 276447"/>
              <a:gd name="T23" fmla="*/ 76023 h 276446"/>
              <a:gd name="T24" fmla="*/ 276447 w 276447"/>
              <a:gd name="T25" fmla="*/ 138223 h 276446"/>
              <a:gd name="T26" fmla="*/ 214247 w 276447"/>
              <a:gd name="T27" fmla="*/ 200423 h 276446"/>
              <a:gd name="T28" fmla="*/ 214247 w 276447"/>
              <a:gd name="T29" fmla="*/ 169323 h 276446"/>
              <a:gd name="T30" fmla="*/ 169324 w 276447"/>
              <a:gd name="T31" fmla="*/ 169323 h 276446"/>
              <a:gd name="T32" fmla="*/ 169324 w 276447"/>
              <a:gd name="T33" fmla="*/ 214246 h 276446"/>
              <a:gd name="T34" fmla="*/ 200424 w 276447"/>
              <a:gd name="T35" fmla="*/ 214246 h 276446"/>
              <a:gd name="T36" fmla="*/ 138224 w 276447"/>
              <a:gd name="T37" fmla="*/ 276446 h 276446"/>
              <a:gd name="T38" fmla="*/ 76023 w 276447"/>
              <a:gd name="T39" fmla="*/ 214246 h 276446"/>
              <a:gd name="T40" fmla="*/ 107123 w 276447"/>
              <a:gd name="T41" fmla="*/ 214246 h 276446"/>
              <a:gd name="T42" fmla="*/ 107123 w 276447"/>
              <a:gd name="T43" fmla="*/ 169323 h 276446"/>
              <a:gd name="T44" fmla="*/ 62200 w 276447"/>
              <a:gd name="T45" fmla="*/ 169323 h 276446"/>
              <a:gd name="T46" fmla="*/ 62200 w 276447"/>
              <a:gd name="T47" fmla="*/ 200423 h 276446"/>
              <a:gd name="T48" fmla="*/ 0 w 276447"/>
              <a:gd name="T49" fmla="*/ 138223 h 27644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76447" h="276446">
                <a:moveTo>
                  <a:pt x="0" y="138223"/>
                </a:moveTo>
                <a:lnTo>
                  <a:pt x="62200" y="76023"/>
                </a:lnTo>
                <a:lnTo>
                  <a:pt x="62200" y="107123"/>
                </a:lnTo>
                <a:lnTo>
                  <a:pt x="107123" y="107123"/>
                </a:lnTo>
                <a:lnTo>
                  <a:pt x="107123" y="62200"/>
                </a:lnTo>
                <a:lnTo>
                  <a:pt x="76023" y="62200"/>
                </a:lnTo>
                <a:lnTo>
                  <a:pt x="138224" y="0"/>
                </a:lnTo>
                <a:lnTo>
                  <a:pt x="200424" y="62200"/>
                </a:lnTo>
                <a:lnTo>
                  <a:pt x="169324" y="62200"/>
                </a:lnTo>
                <a:lnTo>
                  <a:pt x="169324" y="107123"/>
                </a:lnTo>
                <a:lnTo>
                  <a:pt x="214247" y="107123"/>
                </a:lnTo>
                <a:lnTo>
                  <a:pt x="214247" y="76023"/>
                </a:lnTo>
                <a:lnTo>
                  <a:pt x="276447" y="138223"/>
                </a:lnTo>
                <a:lnTo>
                  <a:pt x="214247" y="200423"/>
                </a:lnTo>
                <a:lnTo>
                  <a:pt x="214247" y="169323"/>
                </a:lnTo>
                <a:lnTo>
                  <a:pt x="169324" y="169323"/>
                </a:lnTo>
                <a:lnTo>
                  <a:pt x="169324" y="214246"/>
                </a:lnTo>
                <a:lnTo>
                  <a:pt x="200424" y="214246"/>
                </a:lnTo>
                <a:lnTo>
                  <a:pt x="138224" y="276446"/>
                </a:lnTo>
                <a:lnTo>
                  <a:pt x="76023" y="214246"/>
                </a:lnTo>
                <a:lnTo>
                  <a:pt x="107123" y="214246"/>
                </a:lnTo>
                <a:lnTo>
                  <a:pt x="107123" y="169323"/>
                </a:lnTo>
                <a:lnTo>
                  <a:pt x="62200" y="169323"/>
                </a:lnTo>
                <a:lnTo>
                  <a:pt x="62200" y="200423"/>
                </a:lnTo>
                <a:lnTo>
                  <a:pt x="0" y="138223"/>
                </a:lnTo>
                <a:close/>
              </a:path>
            </a:pathLst>
          </a:cu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Счетверенная стрелка 32"/>
          <p:cNvSpPr>
            <a:spLocks/>
          </p:cNvSpPr>
          <p:nvPr/>
        </p:nvSpPr>
        <p:spPr bwMode="auto">
          <a:xfrm>
            <a:off x="4476739" y="4953011"/>
            <a:ext cx="762005" cy="762005"/>
          </a:xfrm>
          <a:custGeom>
            <a:avLst/>
            <a:gdLst>
              <a:gd name="T0" fmla="*/ 0 w 276447"/>
              <a:gd name="T1" fmla="*/ 138223 h 276446"/>
              <a:gd name="T2" fmla="*/ 62200 w 276447"/>
              <a:gd name="T3" fmla="*/ 76023 h 276446"/>
              <a:gd name="T4" fmla="*/ 62200 w 276447"/>
              <a:gd name="T5" fmla="*/ 107123 h 276446"/>
              <a:gd name="T6" fmla="*/ 107123 w 276447"/>
              <a:gd name="T7" fmla="*/ 107123 h 276446"/>
              <a:gd name="T8" fmla="*/ 107123 w 276447"/>
              <a:gd name="T9" fmla="*/ 62200 h 276446"/>
              <a:gd name="T10" fmla="*/ 76023 w 276447"/>
              <a:gd name="T11" fmla="*/ 62200 h 276446"/>
              <a:gd name="T12" fmla="*/ 138224 w 276447"/>
              <a:gd name="T13" fmla="*/ 0 h 276446"/>
              <a:gd name="T14" fmla="*/ 200424 w 276447"/>
              <a:gd name="T15" fmla="*/ 62200 h 276446"/>
              <a:gd name="T16" fmla="*/ 169324 w 276447"/>
              <a:gd name="T17" fmla="*/ 62200 h 276446"/>
              <a:gd name="T18" fmla="*/ 169324 w 276447"/>
              <a:gd name="T19" fmla="*/ 107123 h 276446"/>
              <a:gd name="T20" fmla="*/ 214247 w 276447"/>
              <a:gd name="T21" fmla="*/ 107123 h 276446"/>
              <a:gd name="T22" fmla="*/ 214247 w 276447"/>
              <a:gd name="T23" fmla="*/ 76023 h 276446"/>
              <a:gd name="T24" fmla="*/ 276447 w 276447"/>
              <a:gd name="T25" fmla="*/ 138223 h 276446"/>
              <a:gd name="T26" fmla="*/ 214247 w 276447"/>
              <a:gd name="T27" fmla="*/ 200423 h 276446"/>
              <a:gd name="T28" fmla="*/ 214247 w 276447"/>
              <a:gd name="T29" fmla="*/ 169323 h 276446"/>
              <a:gd name="T30" fmla="*/ 169324 w 276447"/>
              <a:gd name="T31" fmla="*/ 169323 h 276446"/>
              <a:gd name="T32" fmla="*/ 169324 w 276447"/>
              <a:gd name="T33" fmla="*/ 214246 h 276446"/>
              <a:gd name="T34" fmla="*/ 200424 w 276447"/>
              <a:gd name="T35" fmla="*/ 214246 h 276446"/>
              <a:gd name="T36" fmla="*/ 138224 w 276447"/>
              <a:gd name="T37" fmla="*/ 276446 h 276446"/>
              <a:gd name="T38" fmla="*/ 76023 w 276447"/>
              <a:gd name="T39" fmla="*/ 214246 h 276446"/>
              <a:gd name="T40" fmla="*/ 107123 w 276447"/>
              <a:gd name="T41" fmla="*/ 214246 h 276446"/>
              <a:gd name="T42" fmla="*/ 107123 w 276447"/>
              <a:gd name="T43" fmla="*/ 169323 h 276446"/>
              <a:gd name="T44" fmla="*/ 62200 w 276447"/>
              <a:gd name="T45" fmla="*/ 169323 h 276446"/>
              <a:gd name="T46" fmla="*/ 62200 w 276447"/>
              <a:gd name="T47" fmla="*/ 200423 h 276446"/>
              <a:gd name="T48" fmla="*/ 0 w 276447"/>
              <a:gd name="T49" fmla="*/ 138223 h 27644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76447" h="276446">
                <a:moveTo>
                  <a:pt x="0" y="138223"/>
                </a:moveTo>
                <a:lnTo>
                  <a:pt x="62200" y="76023"/>
                </a:lnTo>
                <a:lnTo>
                  <a:pt x="62200" y="107123"/>
                </a:lnTo>
                <a:lnTo>
                  <a:pt x="107123" y="107123"/>
                </a:lnTo>
                <a:lnTo>
                  <a:pt x="107123" y="62200"/>
                </a:lnTo>
                <a:lnTo>
                  <a:pt x="76023" y="62200"/>
                </a:lnTo>
                <a:lnTo>
                  <a:pt x="138224" y="0"/>
                </a:lnTo>
                <a:lnTo>
                  <a:pt x="200424" y="62200"/>
                </a:lnTo>
                <a:lnTo>
                  <a:pt x="169324" y="62200"/>
                </a:lnTo>
                <a:lnTo>
                  <a:pt x="169324" y="107123"/>
                </a:lnTo>
                <a:lnTo>
                  <a:pt x="214247" y="107123"/>
                </a:lnTo>
                <a:lnTo>
                  <a:pt x="214247" y="76023"/>
                </a:lnTo>
                <a:lnTo>
                  <a:pt x="276447" y="138223"/>
                </a:lnTo>
                <a:lnTo>
                  <a:pt x="214247" y="200423"/>
                </a:lnTo>
                <a:lnTo>
                  <a:pt x="214247" y="169323"/>
                </a:lnTo>
                <a:lnTo>
                  <a:pt x="169324" y="169323"/>
                </a:lnTo>
                <a:lnTo>
                  <a:pt x="169324" y="214246"/>
                </a:lnTo>
                <a:lnTo>
                  <a:pt x="200424" y="214246"/>
                </a:lnTo>
                <a:lnTo>
                  <a:pt x="138224" y="276446"/>
                </a:lnTo>
                <a:lnTo>
                  <a:pt x="76023" y="214246"/>
                </a:lnTo>
                <a:lnTo>
                  <a:pt x="107123" y="214246"/>
                </a:lnTo>
                <a:lnTo>
                  <a:pt x="107123" y="169323"/>
                </a:lnTo>
                <a:lnTo>
                  <a:pt x="62200" y="169323"/>
                </a:lnTo>
                <a:lnTo>
                  <a:pt x="62200" y="200423"/>
                </a:lnTo>
                <a:lnTo>
                  <a:pt x="0" y="138223"/>
                </a:lnTo>
                <a:close/>
              </a:path>
            </a:pathLst>
          </a:cu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Овал 36"/>
          <p:cNvSpPr>
            <a:spLocks noChangeArrowheads="1"/>
          </p:cNvSpPr>
          <p:nvPr/>
        </p:nvSpPr>
        <p:spPr bwMode="auto">
          <a:xfrm>
            <a:off x="9662643" y="2998835"/>
            <a:ext cx="789220" cy="762005"/>
          </a:xfrm>
          <a:prstGeom prst="ellipse">
            <a:avLst/>
          </a:prstGeom>
          <a:solidFill>
            <a:srgbClr val="4F81BD"/>
          </a:solidFill>
          <a:ln w="25400">
            <a:solidFill>
              <a:srgbClr val="243F60"/>
            </a:solidFill>
            <a:round/>
            <a:headEnd/>
            <a:tailEnd/>
          </a:ln>
        </p:spPr>
        <p:txBody>
          <a:bodyPr vert="horz" wrap="square" lIns="121917" tIns="60958" rIns="121917" bIns="60958" numCol="1" anchor="ctr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2793116" y="181669"/>
            <a:ext cx="2015930" cy="954103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54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Game</a:t>
            </a:r>
            <a:endParaRPr lang="ru-RU" sz="54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567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0" grpId="0" animBg="1"/>
      <p:bldP spid="2051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3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3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1371" y="1796819"/>
            <a:ext cx="11233248" cy="3447093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lvl="0"/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крой скобки, используя пассивный залог</a:t>
            </a:r>
          </a:p>
          <a:p>
            <a:pPr lvl="0"/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leg always (ask) at the lessons. - _____________________________________</a:t>
            </a:r>
          </a:p>
          <a:p>
            <a:pPr lvl="0" fontAlgn="base"/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trees (plant) every autumn. - ______________________________________</a:t>
            </a:r>
          </a:p>
          <a:p>
            <a:pPr lvl="0" fontAlgn="base"/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725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3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1371" y="1796819"/>
            <a:ext cx="11233248" cy="3447093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lvl="0"/>
            <a:r>
              <a:rPr lang="ru-RU" sz="27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крой скобки, используя пассивный залог</a:t>
            </a:r>
          </a:p>
          <a:p>
            <a:pPr lvl="0"/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leg always (ask) at the lessons. - _____________________________________</a:t>
            </a:r>
          </a:p>
          <a:p>
            <a:pPr lvl="0" fontAlgn="base"/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sz="2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trees (plant) every autumn. - ______________________________________</a:t>
            </a:r>
          </a:p>
          <a:p>
            <a:pPr lvl="0" fontAlgn="base"/>
            <a:endParaRPr lang="ru-RU" sz="2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303912" y="2607093"/>
            <a:ext cx="5391855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leg is always asked at the lessons.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303912" y="3967605"/>
            <a:ext cx="5600501" cy="5386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sz="27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trees are planted every autumn.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35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31371" y="1796819"/>
            <a:ext cx="11329259" cy="252376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oose and explain</a:t>
            </a:r>
          </a:p>
          <a:p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>
              <a:buAutoNum type="arabicParenR"/>
            </a:pPr>
            <a:r>
              <a:rPr lang="en-US" sz="20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x office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lls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e sold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5,000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ickets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very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y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In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omeo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Juliet,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two teenager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rom rival families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all / are fallen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n love.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llions of video game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e sold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ll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ll over the world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4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4314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31371" y="1796819"/>
            <a:ext cx="11329259" cy="252376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oose and explain</a:t>
            </a:r>
          </a:p>
          <a:p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>
              <a:buAutoNum type="arabicParenR"/>
            </a:pPr>
            <a:r>
              <a:rPr lang="en-US" sz="20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x office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 u="dbl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lls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e sold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5,000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ickets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very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y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In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omeo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Juliet,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two teenager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rom rival families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all / are fallen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n love.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llions of video game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e sold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ll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ll over the world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4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438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quarter" idx="13"/>
          </p:nvPr>
        </p:nvSpPr>
        <p:spPr>
          <a:xfrm>
            <a:off x="983432" y="1754480"/>
            <a:ext cx="10297144" cy="3474720"/>
          </a:xfrm>
        </p:spPr>
        <p:txBody>
          <a:bodyPr>
            <a:noAutofit/>
          </a:bodyPr>
          <a:lstStyle/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А.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еонтьев: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Функционально грамотный человек — это человек, который способен 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ть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се постоянно приобретаемые в течение жизни 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нания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мения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выки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шения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аксимально широкого диапазона 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жизненных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дач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различных сферах человеческой деятельности, общения и социальных отношений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" indent="0" algn="ctr">
              <a:buNone/>
            </a:pP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078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31371" y="1796819"/>
            <a:ext cx="11329259" cy="252376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oose and explain</a:t>
            </a:r>
          </a:p>
          <a:p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>
              <a:buAutoNum type="arabicParenR"/>
            </a:pPr>
            <a:r>
              <a:rPr lang="en-US" sz="20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x office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 u="dbl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lls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e sold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5,000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ickets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very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y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In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omeo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Juliet,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two teenager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rom rival families </a:t>
            </a:r>
            <a:r>
              <a:rPr lang="en-US" sz="2000" b="1" u="dbl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ll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are fallen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n love.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llions of video game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e sold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ll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ll over the world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4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9836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31371" y="1796819"/>
            <a:ext cx="11329259" cy="2523764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oose and explain</a:t>
            </a:r>
          </a:p>
          <a:p>
            <a:endParaRPr lang="ru-RU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>
              <a:buAutoNum type="arabicParenR"/>
            </a:pPr>
            <a:r>
              <a:rPr lang="en-US" sz="20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e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box office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 u="dbl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lls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re sold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5,000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ickets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very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y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) In 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omeo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Juliet,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two teenager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from rival families </a:t>
            </a:r>
            <a:r>
              <a:rPr lang="en-US" sz="2000" b="1" u="dbl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ll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are fallen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n love.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) </a:t>
            </a:r>
            <a:r>
              <a:rPr lang="en-US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llions of video games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 u="dbl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 sold</a:t>
            </a:r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/ </a:t>
            </a:r>
            <a:r>
              <a:rPr lang="en-US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ll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ll over the world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4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844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86433" y="1220755"/>
            <a:ext cx="11233248" cy="406265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algn="just"/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?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 algn="just">
              <a:buAutoNum type="arabicParenR"/>
            </a:pPr>
            <a:r>
              <a:rPr lang="en-US" sz="32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уется для указания того, кто выполнил действие, 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 algn="just">
              <a:buAutoNum type="arabicParenR"/>
            </a:pPr>
            <a:r>
              <a:rPr lang="en-US" sz="32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чем / с помощью чего выполнено действие, 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 algn="just">
              <a:buAutoNum type="arabicParenR"/>
            </a:pP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лог может быть пропущен, если тот, кто выполняет действие не указан, очевиден или неважен (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y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e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omeone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ru-RU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somebody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people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3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ne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т.д.)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03446" y="5491387"/>
            <a:ext cx="1124668" cy="697627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r>
              <a:rPr lang="en-US" sz="3700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PR</a:t>
            </a:r>
            <a:endParaRPr lang="ru-RU" sz="3700" dirty="0">
              <a:solidFill>
                <a:srgbClr val="00B0F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231904" y="4965171"/>
            <a:ext cx="4008619" cy="160043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121917" tIns="60958" rIns="121917" bIns="60958" rtlCol="0">
            <a:spAutoFit/>
          </a:bodyPr>
          <a:lstStyle/>
          <a:p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isten. </a:t>
            </a:r>
          </a:p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 – clap</a:t>
            </a:r>
          </a:p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 – stamp your feet</a:t>
            </a:r>
          </a:p>
        </p:txBody>
      </p:sp>
    </p:spTree>
    <p:extLst>
      <p:ext uri="{BB962C8B-B14F-4D97-AF65-F5344CB8AC3E}">
        <p14:creationId xmlns:p14="http://schemas.microsoft.com/office/powerpoint/2010/main" val="710900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35360" y="1836062"/>
            <a:ext cx="11425269" cy="1600439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marL="457189" indent="-457189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Lyn is given top marks for her essay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r teacher. </a:t>
            </a:r>
          </a:p>
          <a:p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</a:t>
            </a:r>
          </a:p>
          <a:p>
            <a:pPr marL="457189" indent="-457189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 His desk is covered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pers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5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4" name="AutoShape 6" descr="https://us.123rf.com/450wm/dirkercken/dirkercken1507/dirkercken150700319/42958726-action-words-the-time-to-act-is-now-or-never-mister-big-mouth-last-stop-showing-off.jpg?ver=6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Горизонтальный свиток 4"/>
          <p:cNvSpPr/>
          <p:nvPr/>
        </p:nvSpPr>
        <p:spPr>
          <a:xfrm>
            <a:off x="4175787" y="3534189"/>
            <a:ext cx="4280859" cy="2400267"/>
          </a:xfrm>
          <a:prstGeom prst="horizontalScroll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37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ена видов деятельности</a:t>
            </a:r>
          </a:p>
        </p:txBody>
      </p:sp>
      <p:pic>
        <p:nvPicPr>
          <p:cNvPr id="2056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1123" r="45911" b="25179"/>
          <a:stretch/>
        </p:blipFill>
        <p:spPr bwMode="auto">
          <a:xfrm>
            <a:off x="9306030" y="2610899"/>
            <a:ext cx="2470205" cy="2417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5" t="32248" r="40959" b="37519"/>
          <a:stretch/>
        </p:blipFill>
        <p:spPr bwMode="auto">
          <a:xfrm>
            <a:off x="207433" y="5397502"/>
            <a:ext cx="3333256" cy="1247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848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35360" y="1836062"/>
            <a:ext cx="11425269" cy="1600439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marL="457189" indent="-457189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Lyn is given top marks for her essay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er teacher. </a:t>
            </a:r>
          </a:p>
          <a:p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</a:t>
            </a:r>
          </a:p>
          <a:p>
            <a:pPr marL="457189" indent="-457189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 His desk is covered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pers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5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711686" y="1672650"/>
            <a:ext cx="1571221" cy="861775"/>
          </a:xfrm>
          <a:prstGeom prst="rect">
            <a:avLst/>
          </a:prstGeom>
          <a:solidFill>
            <a:schemeClr val="bg1"/>
          </a:solidFill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en-US" sz="4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008656" y="2663237"/>
            <a:ext cx="1536171" cy="861775"/>
          </a:xfrm>
          <a:prstGeom prst="rect">
            <a:avLst/>
          </a:prstGeom>
          <a:solidFill>
            <a:schemeClr val="bg1"/>
          </a:solidFill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en-US" sz="4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endParaRPr lang="ru-RU" sz="3700" dirty="0">
              <a:solidFill>
                <a:srgbClr val="FF0000"/>
              </a:solidFill>
            </a:endParaRPr>
          </a:p>
        </p:txBody>
      </p:sp>
      <p:sp>
        <p:nvSpPr>
          <p:cNvPr id="4" name="AutoShape 6" descr="https://us.123rf.com/450wm/dirkercken/dirkercken1507/dirkercken150700319/42958726-action-words-the-time-to-act-is-now-or-never-mister-big-mouth-last-stop-showing-off.jpg?ver=6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Горизонтальный свиток 4"/>
          <p:cNvSpPr/>
          <p:nvPr/>
        </p:nvSpPr>
        <p:spPr>
          <a:xfrm>
            <a:off x="4175787" y="3534189"/>
            <a:ext cx="4280859" cy="2400267"/>
          </a:xfrm>
          <a:prstGeom prst="horizontalScroll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37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ена видов деятельности</a:t>
            </a:r>
          </a:p>
        </p:txBody>
      </p:sp>
      <p:pic>
        <p:nvPicPr>
          <p:cNvPr id="2056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4" t="11123" r="45911" b="25179"/>
          <a:stretch/>
        </p:blipFill>
        <p:spPr bwMode="auto">
          <a:xfrm>
            <a:off x="9306030" y="2610899"/>
            <a:ext cx="2470205" cy="2417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5" t="32248" r="40959" b="37519"/>
          <a:stretch/>
        </p:blipFill>
        <p:spPr bwMode="auto">
          <a:xfrm>
            <a:off x="207433" y="5397502"/>
            <a:ext cx="3333256" cy="1247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7777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5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pic>
        <p:nvPicPr>
          <p:cNvPr id="2050" name="Picture 2" descr="https://101pchela.ru/wp-content/uploads/2019/08/sushka_pylcy_bumaga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8" t="9643" r="10723" b="8874"/>
          <a:stretch/>
        </p:blipFill>
        <p:spPr bwMode="auto">
          <a:xfrm>
            <a:off x="355752" y="3236979"/>
            <a:ext cx="3429827" cy="2485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45" t="29352" r="52779" b="35324"/>
          <a:stretch/>
        </p:blipFill>
        <p:spPr bwMode="auto">
          <a:xfrm>
            <a:off x="4079776" y="2852936"/>
            <a:ext cx="3667003" cy="2209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11" t="16848" r="39068" b="31182"/>
          <a:stretch/>
        </p:blipFill>
        <p:spPr bwMode="auto">
          <a:xfrm>
            <a:off x="8016213" y="3496452"/>
            <a:ext cx="3466771" cy="2226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utoShape 6" descr="https://us.123rf.com/450wm/dirkercken/dirkercken1507/dirkercken150700319/42958726-action-words-the-time-to-act-is-now-or-never-mister-big-mouth-last-stop-showing-off.jpg?ver=6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5" name="Picture 7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51" t="12852" r="43927" b="64672"/>
          <a:stretch/>
        </p:blipFill>
        <p:spPr bwMode="auto">
          <a:xfrm rot="21258789">
            <a:off x="604068" y="1625744"/>
            <a:ext cx="2826123" cy="860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Горизонтальный свиток 4"/>
          <p:cNvSpPr/>
          <p:nvPr/>
        </p:nvSpPr>
        <p:spPr>
          <a:xfrm>
            <a:off x="8323775" y="1028734"/>
            <a:ext cx="2976331" cy="2054543"/>
          </a:xfrm>
          <a:prstGeom prst="horizontalScroll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ru-RU" sz="27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ена видов деятельности</a:t>
            </a:r>
          </a:p>
        </p:txBody>
      </p:sp>
    </p:spTree>
    <p:extLst>
      <p:ext uri="{BB962C8B-B14F-4D97-AF65-F5344CB8AC3E}">
        <p14:creationId xmlns:p14="http://schemas.microsoft.com/office/powerpoint/2010/main" val="383237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35360" y="2361849"/>
            <a:ext cx="11425269" cy="2585323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marL="457189" indent="-457189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 This dish is made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r types of cheese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/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/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 Mickey Mouse is created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lt Disney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5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3420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35360" y="2361849"/>
            <a:ext cx="11425269" cy="2585323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marL="457189" indent="-457189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 This dish is made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r types of cheese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/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/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 Mickey Mouse is created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lt Disney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5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679984" y="2169829"/>
            <a:ext cx="1536171" cy="861775"/>
          </a:xfrm>
          <a:prstGeom prst="rect">
            <a:avLst/>
          </a:prstGeom>
          <a:solidFill>
            <a:schemeClr val="bg1"/>
          </a:solidFill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en-US" sz="4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endParaRPr lang="ru-RU" sz="3700" dirty="0">
              <a:solidFill>
                <a:srgbClr val="FF0000"/>
              </a:solidFill>
            </a:endParaRPr>
          </a:p>
        </p:txBody>
      </p:sp>
      <p:pic>
        <p:nvPicPr>
          <p:cNvPr id="8" name="Picture 2" descr="https://avatars.mds.yandex.net/get-zen_doc/1872852/pub_5de20268fbe6e700b04a40ea_5de2040d5ba2b500adf081d7/scale_120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157" y="1803784"/>
            <a:ext cx="3552395" cy="1728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7787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35360" y="2361849"/>
            <a:ext cx="11425269" cy="2585323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marL="457189" indent="-457189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 This dish is made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ur types of cheese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/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/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189" indent="-457189"/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 Mickey Mouse is created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  <a:r>
              <a:rPr lang="ru-RU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/ </a:t>
            </a: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alt Disney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5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679984" y="2169829"/>
            <a:ext cx="1536171" cy="861775"/>
          </a:xfrm>
          <a:prstGeom prst="rect">
            <a:avLst/>
          </a:prstGeom>
          <a:solidFill>
            <a:schemeClr val="bg1"/>
          </a:solidFill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en-US" sz="4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</a:t>
            </a:r>
            <a:endParaRPr lang="ru-RU" sz="3700" dirty="0">
              <a:solidFill>
                <a:srgbClr val="FF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928123" y="4206373"/>
            <a:ext cx="1571221" cy="861775"/>
          </a:xfrm>
          <a:prstGeom prst="rect">
            <a:avLst/>
          </a:prstGeom>
          <a:solidFill>
            <a:schemeClr val="bg1"/>
          </a:solidFill>
        </p:spPr>
        <p:txBody>
          <a:bodyPr wrap="square" lIns="121917" tIns="60958" rIns="121917" bIns="60958">
            <a:spAutoFit/>
          </a:bodyPr>
          <a:lstStyle/>
          <a:p>
            <a:pPr algn="ctr"/>
            <a:r>
              <a:rPr lang="en-US" sz="4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y</a:t>
            </a:r>
          </a:p>
        </p:txBody>
      </p:sp>
      <p:pic>
        <p:nvPicPr>
          <p:cNvPr id="8" name="Picture 2" descr="https://avatars.mds.yandex.net/get-zen_doc/1872852/pub_5de20268fbe6e700b04a40ea_5de2040d5ba2b500adf081d7/scale_120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157" y="1803784"/>
            <a:ext cx="3552395" cy="1728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73" t="11308" r="36321" b="25397"/>
          <a:stretch/>
        </p:blipFill>
        <p:spPr bwMode="auto">
          <a:xfrm>
            <a:off x="6480043" y="3820008"/>
            <a:ext cx="2437823" cy="1625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9238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6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1371" y="1892830"/>
            <a:ext cx="11233248" cy="1785100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fontAlgn="base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крой скобки, используя активный или пассивный залог</a:t>
            </a:r>
          </a:p>
          <a:p>
            <a:pPr fontAlgn="base"/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 (feed) the cat every morning. - __________________________</a:t>
            </a:r>
          </a:p>
          <a:p>
            <a:pPr lvl="0" fontAlgn="base"/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ockey (play) in winter. - _______________________</a:t>
            </a:r>
          </a:p>
          <a:p>
            <a:pPr lvl="0" fontAlgn="base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2" descr="https://animalmascota.com/wp-content/2018/01/gatos-nino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09" y="1796819"/>
            <a:ext cx="3243027" cy="1824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://xn--80aaehcdett5alvfjj.xn--p1ai/uploads/posts/2016-02/1455270443_7c517571d65448c54b997a58e8631b7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075" y="3909054"/>
            <a:ext cx="3744415" cy="2496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2906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quarter" idx="13"/>
          </p:nvPr>
        </p:nvSpPr>
        <p:spPr>
          <a:xfrm>
            <a:off x="839416" y="1196752"/>
            <a:ext cx="9852587" cy="3474720"/>
          </a:xfrm>
        </p:spPr>
        <p:txBody>
          <a:bodyPr>
            <a:normAutofit/>
          </a:bodyPr>
          <a:lstStyle/>
          <a:p>
            <a:pPr marL="45720" indent="0" algn="ctr">
              <a:buNone/>
            </a:pPr>
            <a:r>
              <a:rPr lang="ru-RU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.А</a:t>
            </a:r>
            <a:r>
              <a:rPr lang="ru-RU" sz="4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имняя: </a:t>
            </a:r>
          </a:p>
          <a:p>
            <a:pPr marL="45720" indent="0" algn="ctr">
              <a:buNone/>
            </a:pPr>
            <a:r>
              <a:rPr lang="ru-RU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“Английский язык как бы беспредметен</a:t>
            </a:r>
            <a:r>
              <a:rPr lang="ru-RU" sz="4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” </a:t>
            </a:r>
            <a:endParaRPr lang="ru-RU" sz="4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098" name="Picture 2" descr="https://cf.ppt-online.org/files1/slide/5/5kDJSa0ZlQfCdVHczE6LgR9qtswIrNGpuxWe4MoTv/slide-18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38" t="25510" r="23205" b="9904"/>
          <a:stretch/>
        </p:blipFill>
        <p:spPr bwMode="auto">
          <a:xfrm>
            <a:off x="2828950" y="3068960"/>
            <a:ext cx="6977975" cy="3531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8239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6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1371" y="1892830"/>
            <a:ext cx="11233248" cy="1785100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fontAlgn="base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скрой скобки, используя активный или пассивный залог</a:t>
            </a:r>
          </a:p>
          <a:p>
            <a:pPr fontAlgn="base"/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 (feed) the cat every morning. - __________________________</a:t>
            </a:r>
          </a:p>
          <a:p>
            <a:pPr lvl="0" fontAlgn="base"/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fontAlgn="base"/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ockey (play) in winter. - _______________________</a:t>
            </a:r>
          </a:p>
          <a:p>
            <a:pPr lvl="0" fontAlgn="base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690145" y="2380823"/>
            <a:ext cx="3080324" cy="4001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feed the cat every morning.</a:t>
            </a:r>
            <a:endParaRPr lang="ru-RU" sz="2100" b="1" dirty="0">
              <a:solidFill>
                <a:srgbClr val="FF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10996" y="2963364"/>
            <a:ext cx="2898864" cy="400105"/>
          </a:xfrm>
          <a:prstGeom prst="rect">
            <a:avLst/>
          </a:prstGeom>
        </p:spPr>
        <p:txBody>
          <a:bodyPr wrap="none" lIns="121917" tIns="60958" rIns="121917" bIns="60958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ckey is played in winter.</a:t>
            </a:r>
            <a:endParaRPr lang="ru-RU" sz="2100" b="1" dirty="0">
              <a:solidFill>
                <a:srgbClr val="FF0000"/>
              </a:solidFill>
            </a:endParaRPr>
          </a:p>
        </p:txBody>
      </p:sp>
      <p:pic>
        <p:nvPicPr>
          <p:cNvPr id="6" name="Picture 2" descr="https://animalmascota.com/wp-content/2018/01/gatos-ninos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09" y="1796819"/>
            <a:ext cx="3243027" cy="1824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://xn--80aaehcdett5alvfjj.xn--p1ai/uploads/posts/2016-02/1455270443_7c517571d65448c54b997a58e8631b7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075" y="3909054"/>
            <a:ext cx="3744415" cy="2496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225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27559" y="1670605"/>
            <a:ext cx="11233248" cy="3077762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lvl="0" algn="ctr"/>
            <a:r>
              <a:rPr lang="en-US" sz="32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director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u="dbl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ks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u="dotted" dirty="0">
                <a:latin typeface="Times New Roman" panose="02020603050405020304" pitchFamily="18" charset="0"/>
                <a:cs typeface="Times New Roman" panose="02020603050405020304" pitchFamily="18" charset="0"/>
              </a:rPr>
              <a:t>Jane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o say her lines with more feeling. 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sz="32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r>
              <a:rPr lang="en-US" sz="32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ts of people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u="dbl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sit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u="dotted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gallery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very year.   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7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0502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27559" y="1670605"/>
            <a:ext cx="11233248" cy="406265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 lvl="0" algn="ctr"/>
            <a:r>
              <a:rPr lang="en-US" sz="32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director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u="dbl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ks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u="dotted" dirty="0">
                <a:latin typeface="Times New Roman" panose="02020603050405020304" pitchFamily="18" charset="0"/>
                <a:cs typeface="Times New Roman" panose="02020603050405020304" pitchFamily="18" charset="0"/>
              </a:rPr>
              <a:t>Jane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o say her lines with more feeling. 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sz="32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3200" i="1" u="sng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ane</a:t>
            </a:r>
            <a:r>
              <a:rPr lang="en-US" sz="32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i="1" u="dbl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asked</a:t>
            </a:r>
            <a:r>
              <a:rPr lang="en-US" sz="32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o say her lines with more feeling</a:t>
            </a:r>
            <a:r>
              <a:rPr lang="ru-RU" sz="32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32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32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r>
              <a:rPr lang="en-US" sz="32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ts of people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u="dbl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sit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u="dotted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gallery</a:t>
            </a:r>
            <a:r>
              <a:rPr lang="en-US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every year.   </a:t>
            </a:r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endParaRPr lang="ru-RU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3200" i="1" u="sng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gallery</a:t>
            </a:r>
            <a:r>
              <a:rPr lang="en-US" sz="32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i="1" u="dbl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visited</a:t>
            </a:r>
            <a:r>
              <a:rPr lang="en-US" sz="32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y </a:t>
            </a:r>
            <a:r>
              <a:rPr lang="en-US" sz="3200" i="1" u="dotted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ousands of people</a:t>
            </a:r>
            <a:r>
              <a:rPr lang="en-US" sz="3200" i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every year.</a:t>
            </a:r>
            <a:r>
              <a:rPr lang="en-US" sz="32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35628" y="68627"/>
            <a:ext cx="763457" cy="1231107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72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Century Gothic" pitchFamily="34" charset="0"/>
              </a:rPr>
              <a:t>7</a:t>
            </a:r>
            <a:endParaRPr lang="ru-RU" sz="72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7294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 descr="https://ysia.ru/wp-content/uploads/2020/02/god-i-vstrecha-110-19.jpg"/>
          <p:cNvSpPr>
            <a:spLocks noChangeAspect="1" noChangeArrowheads="1"/>
          </p:cNvSpPr>
          <p:nvPr/>
        </p:nvSpPr>
        <p:spPr bwMode="auto">
          <a:xfrm>
            <a:off x="207433" y="-192617"/>
            <a:ext cx="4064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17" tIns="60958" rIns="121917" bIns="60958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92" t="11628" r="41657" b="26667"/>
          <a:stretch/>
        </p:blipFill>
        <p:spPr bwMode="auto">
          <a:xfrm>
            <a:off x="410633" y="1028733"/>
            <a:ext cx="3474056" cy="270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5" descr="https://kto-chto-gde.ru/wp-content/uploads/2017/08/93dc747e6f0290f257696f4c56ac0a0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5733" y="3909053"/>
            <a:ext cx="4128459" cy="2753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https://avatars.mds.yandex.net/get-zen_doc/3445317/pub_5f1200bb10edc71dbb9afe0f_5f12c57d7d3512170c207fd9/scale_12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117" y="1124744"/>
            <a:ext cx="4032448" cy="2688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 rot="20667300">
            <a:off x="472090" y="4613820"/>
            <a:ext cx="2709036" cy="134414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sz="4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tive</a:t>
            </a:r>
            <a:endParaRPr lang="ru-RU" sz="4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 rot="890203">
            <a:off x="8911234" y="4521524"/>
            <a:ext cx="2709036" cy="1344149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21917" tIns="60958" rIns="121917" bIns="60958" rtlCol="0" anchor="ctr"/>
          <a:lstStyle/>
          <a:p>
            <a:pPr algn="ctr"/>
            <a:r>
              <a:rPr lang="en-US" sz="4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assive</a:t>
            </a:r>
            <a:endParaRPr lang="ru-RU" sz="4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793116" y="181669"/>
            <a:ext cx="2015930" cy="954103"/>
          </a:xfrm>
          <a:prstGeom prst="rect">
            <a:avLst/>
          </a:prstGeom>
          <a:noFill/>
        </p:spPr>
        <p:txBody>
          <a:bodyPr wrap="none" lIns="121917" tIns="60958" rIns="121917" bIns="60958">
            <a:spAutoFit/>
          </a:bodyPr>
          <a:lstStyle/>
          <a:p>
            <a:pPr algn="ctr"/>
            <a:r>
              <a:rPr lang="en-US" sz="54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Game</a:t>
            </a:r>
            <a:endParaRPr lang="ru-RU" sz="5400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300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0514" name="Picture 2" descr="https://sun9-46.userapi.com/impg/Crzgh6lb54np3SIFlRw51up05lfcInMdDJG9Bg/eBqH3c0uLAc.jpg?size=1200x1600&amp;quality=96&amp;sign=7e6eee0c5ba90567a36a0c6acbc48886&amp;type=album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44" t="5919" r="5364" b="29488"/>
          <a:stretch/>
        </p:blipFill>
        <p:spPr bwMode="auto">
          <a:xfrm>
            <a:off x="335360" y="422407"/>
            <a:ext cx="5976664" cy="603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0516" name="Picture 4" descr="https://sun9-30.userapi.com/impg/1V5GvDbiJKsJnDxk0X85wk9kyYKToa2Q-6Qa8w/0bmx0qzR8qA.jpg?size=1600x1200&amp;quality=96&amp;sign=2d0e8f4d50b725968b903065bace10cf&amp;type=album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2" t="32752" r="32716" b="26813"/>
          <a:stretch/>
        </p:blipFill>
        <p:spPr bwMode="auto">
          <a:xfrm>
            <a:off x="5330440" y="2564904"/>
            <a:ext cx="6861560" cy="3456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https://edvisrb.ru/images/uploads/9f6ebf43-2bea-11e7-affc-0050569c7d1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6" y="422407"/>
            <a:ext cx="1510308" cy="2021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1989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7"/>
          </p:nvPr>
        </p:nvSpPr>
        <p:spPr>
          <a:xfrm>
            <a:off x="407368" y="2625402"/>
            <a:ext cx="11442833" cy="3318285"/>
          </a:xfrm>
        </p:spPr>
        <p:txBody>
          <a:bodyPr/>
          <a:lstStyle/>
          <a:p>
            <a:pPr marL="285750" indent="-285750">
              <a:buFontTx/>
              <a:buChar char="-"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ило, которое вывел обучающийся самостоятельно, становится значимым, лучше запоминается.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еся становятся активными субъектами образовательного процесса </a:t>
            </a: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не пассивными объектами)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тод «бросает вызов», развивает критическое и креативное мышление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 групповой работе – развитие навыков говорения, работы в команде, формирование социально-значимых моделей поведения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зволяет обучающимся поверить в себя, развить самостоятельность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7442" name="Picture 2" descr="https://miro.medium.com/max/1024/1*GwcqBdx_bjaXfVVASarFSg.jpe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46" b="8099"/>
          <a:stretch/>
        </p:blipFill>
        <p:spPr bwMode="auto">
          <a:xfrm>
            <a:off x="8256240" y="410420"/>
            <a:ext cx="3421889" cy="1860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444" name="Picture 4" descr="https://forum.guns.ru/forums/icons/forum_pictures/020851/20851296_634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955" y="332657"/>
            <a:ext cx="2424857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0571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Время</a:t>
            </a:r>
          </a:p>
          <a:p>
            <a:pPr marL="285750" indent="-285750">
              <a:buFontTx/>
              <a:buChar char="-"/>
            </a:pP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нергия </a:t>
            </a:r>
          </a:p>
          <a:p>
            <a:pPr marL="285750" indent="-285750">
              <a:buFontTx/>
              <a:buChar char="-"/>
            </a:pP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нение, что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вод правил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цель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изучения языка </a:t>
            </a:r>
          </a:p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это лишь </a:t>
            </a: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едство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285750" indent="-285750">
              <a:buFontTx/>
              <a:buChar char="-"/>
            </a:pP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гут запомнить не совсем верный вариант правила</a:t>
            </a:r>
          </a:p>
          <a:p>
            <a:pPr marL="285750" indent="-285750">
              <a:buFontTx/>
              <a:buChar char="-"/>
            </a:pP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ожность планирования (для педагога)</a:t>
            </a:r>
          </a:p>
          <a:p>
            <a:pPr marL="285750" indent="-285750">
              <a:buFontTx/>
              <a:buChar char="-"/>
            </a:pP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сихологические сложности (для обучающегося)</a:t>
            </a:r>
          </a:p>
          <a:p>
            <a:pPr marL="285750" indent="-285750">
              <a:buFontTx/>
              <a:buChar char="-"/>
            </a:pP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19490" name="Picture 2" descr="https://wiki.mininuniver.ru/images/d/d6/Thinking-smiley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88" y="260648"/>
            <a:ext cx="3004666" cy="3007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0424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-driven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ляем правило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нируем посредством множества примеров</a:t>
            </a:r>
          </a:p>
          <a:p>
            <a:pPr marL="285750" indent="-285750">
              <a:buFontTx/>
              <a:buChar char="-"/>
            </a:pPr>
            <a:endParaRPr lang="ru-RU" sz="2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т общего к частному»</a:t>
            </a:r>
          </a:p>
          <a:p>
            <a:pPr marL="285750" indent="-285750">
              <a:buFontTx/>
              <a:buChar char="-"/>
            </a:pP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Навязан»</a:t>
            </a: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5"/>
          </p:nvPr>
        </p:nvSpPr>
        <p:spPr>
          <a:xfrm>
            <a:off x="6528048" y="1628800"/>
            <a:ext cx="5329521" cy="4608512"/>
          </a:xfrm>
        </p:spPr>
        <p:txBody>
          <a:bodyPr/>
          <a:lstStyle/>
          <a:p>
            <a:r>
              <a:rPr lang="en-US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-discovery</a:t>
            </a:r>
            <a:endParaRPr lang="ru-RU" sz="24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еся не знают правило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учают примеры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нимают суть</a:t>
            </a: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нировка посредством упражнений</a:t>
            </a:r>
          </a:p>
          <a:p>
            <a:pPr marL="285750" indent="-285750">
              <a:buFontTx/>
              <a:buChar char="-"/>
            </a:pP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т частного к общему»</a:t>
            </a:r>
          </a:p>
          <a:p>
            <a:pPr marL="285750" indent="-285750">
              <a:buFontTx/>
              <a:buChar char="-"/>
            </a:pP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Более естественный путь познания», личный опыт</a:t>
            </a: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дуктивный подход</a:t>
            </a: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sz="2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дуктивный подход</a:t>
            </a: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ение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люс 1"/>
          <p:cNvSpPr/>
          <p:nvPr/>
        </p:nvSpPr>
        <p:spPr>
          <a:xfrm>
            <a:off x="5507055" y="980728"/>
            <a:ext cx="1080120" cy="1080120"/>
          </a:xfrm>
          <a:prstGeom prst="mathPlus">
            <a:avLst/>
          </a:prstGeom>
          <a:solidFill>
            <a:srgbClr val="00B0F0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344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>
          <a:xfrm>
            <a:off x="334433" y="1340768"/>
            <a:ext cx="11520000" cy="4608512"/>
          </a:xfrm>
        </p:spPr>
        <p:txBody>
          <a:bodyPr/>
          <a:lstStyle/>
          <a:p>
            <a:pPr algn="ctr"/>
            <a:r>
              <a:rPr lang="ru-RU" sz="32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Метод управляемых открытий»</a:t>
            </a:r>
          </a:p>
          <a:p>
            <a:pPr algn="ctr"/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2 прилагательных)</a:t>
            </a:r>
          </a:p>
          <a:p>
            <a:pPr algn="ctr"/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3 действия)</a:t>
            </a:r>
          </a:p>
          <a:p>
            <a:pPr algn="ctr"/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фраза из 4 слов, описывающая суть метода)</a:t>
            </a:r>
            <a:endParaRPr lang="en-US" sz="3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2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мент развития 4 К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нквейн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1809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>
          <a:xfrm>
            <a:off x="334433" y="1268760"/>
            <a:ext cx="11520000" cy="4680520"/>
          </a:xfrm>
        </p:spPr>
        <p:txBody>
          <a:bodyPr/>
          <a:lstStyle/>
          <a:p>
            <a:pPr algn="ctr"/>
            <a:r>
              <a:rPr lang="ru-RU" sz="32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Метод управляемых открытий»</a:t>
            </a:r>
          </a:p>
          <a:p>
            <a:pPr algn="ctr"/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звивающий, стимулирующий </a:t>
            </a:r>
          </a:p>
          <a:p>
            <a:pPr algn="ctr"/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йти, вывести, применить</a:t>
            </a:r>
          </a:p>
          <a:p>
            <a:pPr algn="ctr"/>
            <a:r>
              <a:rPr lang="ru-RU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делать правило значимым, запоминающимся</a:t>
            </a:r>
            <a:endParaRPr lang="en-US" sz="3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2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мент развития 4 К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28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нквейн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807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chool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ссоциации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688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1679510" y="4509121"/>
            <a:ext cx="9036423" cy="197158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68580" indent="0" algn="ctr">
              <a:buNone/>
            </a:pP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Учителю не должно быть скучно от самого себя»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92" t="17674" r="25000" b="43256"/>
          <a:stretch/>
        </p:blipFill>
        <p:spPr bwMode="auto">
          <a:xfrm>
            <a:off x="623392" y="692696"/>
            <a:ext cx="11435349" cy="3502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0991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2C4E9F-65DC-4CEA-99AB-D34319F07867}" type="slidenum">
              <a:rPr lang="ru-RU" smtClean="0"/>
              <a:t>81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1641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5" t="17054" r="1017" b="3410"/>
          <a:stretch/>
        </p:blipFill>
        <p:spPr bwMode="auto">
          <a:xfrm>
            <a:off x="0" y="0"/>
            <a:ext cx="12201350" cy="6165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6420" name="Picture 4" descr="http://qrcoder.ru/code/?https%3A%2F%2Fwww.youtube.com%2Fchannel%2FUCyIChKgUShl5Yg-OAm7pw6Q%2Fplaylists&amp;6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56" y="2204864"/>
            <a:ext cx="2088232" cy="2088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6422" name="Picture 6" descr="https://a.d-cd.net/8wAAAgGszOA-1920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98" t="31096" r="11942" b="29920"/>
          <a:stretch/>
        </p:blipFill>
        <p:spPr bwMode="auto">
          <a:xfrm>
            <a:off x="335361" y="116632"/>
            <a:ext cx="3600400" cy="1879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867508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431704" y="188640"/>
            <a:ext cx="8251226" cy="785818"/>
          </a:xfr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тная </a:t>
            </a:r>
            <a:r>
              <a:rPr lang="ru-RU" sz="3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язь</a:t>
            </a:r>
            <a:endParaRPr lang="ru-RU" sz="32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295800" y="1196760"/>
            <a:ext cx="433528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www.apokidova.com</a:t>
            </a:r>
            <a:r>
              <a:rPr lang="ru-RU" sz="3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3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36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2870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6" t="5270" r="6338" b="13333"/>
          <a:stretch/>
        </p:blipFill>
        <p:spPr bwMode="auto">
          <a:xfrm>
            <a:off x="5187831" y="4372948"/>
            <a:ext cx="3844603" cy="2293482"/>
          </a:xfrm>
          <a:prstGeom prst="rect">
            <a:avLst/>
          </a:prstGeom>
          <a:noFill/>
          <a:ln w="28575">
            <a:solidFill>
              <a:schemeClr val="accent6">
                <a:lumMod val="9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28707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82" t="5582" r="5379" b="23566"/>
          <a:stretch/>
        </p:blipFill>
        <p:spPr bwMode="auto">
          <a:xfrm>
            <a:off x="131378" y="4380321"/>
            <a:ext cx="4896544" cy="2278737"/>
          </a:xfrm>
          <a:prstGeom prst="rect">
            <a:avLst/>
          </a:prstGeom>
          <a:noFill/>
          <a:ln w="28575">
            <a:solidFill>
              <a:schemeClr val="accent6">
                <a:lumMod val="9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30754" name="Picture 2" descr="http://qrcoder.ru/code/?https%3A%2F%2Fwww.apokidova.com%2F&amp;4&amp;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2343" y="1843091"/>
            <a:ext cx="2832395" cy="2832396"/>
          </a:xfrm>
          <a:prstGeom prst="rect">
            <a:avLst/>
          </a:prstGeom>
          <a:noFill/>
          <a:ln w="38100">
            <a:solidFill>
              <a:schemeClr val="accent6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D034176-DE84-4E20-9531-F9C96AC192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2828" y="2118266"/>
            <a:ext cx="1612691" cy="2174830"/>
          </a:xfrm>
          <a:prstGeom prst="rect">
            <a:avLst/>
          </a:prstGeom>
        </p:spPr>
      </p:pic>
      <p:pic>
        <p:nvPicPr>
          <p:cNvPr id="9" name="Рисунок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552" y="2141746"/>
            <a:ext cx="1584176" cy="2151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1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995" y="2141746"/>
            <a:ext cx="1587307" cy="2151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0" name="Picture 2" descr="https://sun9-33.userapi.com/impg/P1FOfi4vpwEzyBb_yY-jauaEqsrFVHYJB9r2dQ/FabCYnui5K4.jpg?size=1280x960&amp;quality=96&amp;sign=ff579a4aa548431c946d2732226d8478&amp;type=album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378" y="116632"/>
            <a:ext cx="2552545" cy="1914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912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91344" y="2067118"/>
            <a:ext cx="12384096" cy="1937946"/>
          </a:xfrm>
          <a:effectLst/>
        </p:spPr>
        <p:txBody>
          <a:bodyPr>
            <a:no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ru-RU" sz="6600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</a:t>
            </a:r>
            <a:br>
              <a:rPr lang="ru-RU" sz="6600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6600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за внимание!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328248" y="5445224"/>
            <a:ext cx="3812172" cy="83671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ww.apokidova.com</a:t>
            </a:r>
            <a:endParaRPr lang="ru-RU" sz="2000" b="1" dirty="0" err="1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075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ссоциации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744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03" t="37054" r="2151" b="16124"/>
          <a:stretch/>
        </p:blipFill>
        <p:spPr bwMode="auto">
          <a:xfrm>
            <a:off x="191344" y="2276872"/>
            <a:ext cx="11851271" cy="4104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Текст 1"/>
          <p:cNvSpPr txBox="1">
            <a:spLocks/>
          </p:cNvSpPr>
          <p:nvPr/>
        </p:nvSpPr>
        <p:spPr>
          <a:xfrm>
            <a:off x="486833" y="1205136"/>
            <a:ext cx="11520000" cy="4896544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sz="1400" b="0" i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 kern="12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chool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5579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3&quot;&gt;&lt;elem m_fUsage=&quot;4.51486513326615401809E+00&quot;&gt;&lt;m_msothmcolidx val=&quot;0&quot;/&gt;&lt;m_rgb r=&quot;24&quot; g=&quot;C1&quot; b=&quot;38&quot;/&gt;&lt;m_nBrightness endver=&quot;26206&quot; val=&quot;0&quot;/&gt;&lt;/elem&gt;&lt;elem m_fUsage=&quot;2.02827175404256809799E+00&quot;&gt;&lt;m_msothmcolidx val=&quot;0&quot;/&gt;&lt;m_rgb r=&quot;FE&quot; g=&quot;8D&quot; b=&quot;10&quot;/&gt;&lt;m_nBrightness endver=&quot;26206&quot; val=&quot;0&quot;/&gt;&lt;/elem&gt;&lt;elem m_fUsage=&quot;1.00000000000000000000E+00&quot;&gt;&lt;m_msothmcolidx val=&quot;0&quot;/&gt;&lt;m_rgb r=&quot;CC&quot; g=&quot;66&quot; b=&quot;00&quot;/&gt;&lt;m_nBrightness endver=&quot;26206&quot; val=&quot;0&quot;/&gt;&lt;/elem&gt;&lt;elem m_fUsage=&quot;9.00000000000000022204E-01&quot;&gt;&lt;m_msothmcolidx val=&quot;0&quot;/&gt;&lt;m_rgb r=&quot;E0&quot; g=&quot;A3&quot; b=&quot;66&quot;/&gt;&lt;m_nBrightness endver=&quot;26206&quot; val=&quot;0&quot;/&gt;&lt;/elem&gt;&lt;elem m_fUsage=&quot;8.10000000000000053291E-01&quot;&gt;&lt;m_msothmcolidx val=&quot;0&quot;/&gt;&lt;m_rgb r=&quot;DB&quot; g=&quot;94&quot; b=&quot;4D&quot;/&gt;&lt;m_nBrightness endver=&quot;26206&quot; val=&quot;0&quot;/&gt;&lt;/elem&gt;&lt;elem m_fUsage=&quot;5.48617477337473569143E-01&quot;&gt;&lt;m_msothmcolidx val=&quot;0&quot;/&gt;&lt;m_rgb r=&quot;C7&quot; g=&quot;07&quot; b=&quot;0D&quot;/&gt;&lt;m_nBrightness endver=&quot;26206&quot; val=&quot;0&quot;/&gt;&lt;/elem&gt;&lt;elem m_fUsage=&quot;1.48378714908227737901E-01&quot;&gt;&lt;m_msothmcolidx val=&quot;0&quot;/&gt;&lt;m_rgb r=&quot;20&quot; g=&quot;AA&quot; b=&quot;31&quot;/&gt;&lt;m_nBrightness endver=&quot;26206&quot; val=&quot;0&quot;/&gt;&lt;/elem&gt;&lt;elem m_fUsage=&quot;2.92009645302687970148E-02&quot;&gt;&lt;m_msothmcolidx val=&quot;0&quot;/&gt;&lt;m_rgb r=&quot;FE&quot; g=&quot;A0&quot; b=&quot;38&quot;/&gt;&lt;m_nBrightness endver=&quot;26206&quot; val=&quot;0&quot;/&gt;&lt;/elem&gt;&lt;elem m_fUsage=&quot;4.82819848642973472458E-03&quot;&gt;&lt;m_msothmcolidx val=&quot;0&quot;/&gt;&lt;m_rgb r=&quot;2D&quot; g=&quot;34&quot; b=&quot;94&quot;/&gt;&lt;m_nBrightness endver=&quot;26206&quot; val=&quot;0&quot;/&gt;&lt;/elem&gt;&lt;elem m_fUsage=&quot;3.04325272217045731185E-03&quot;&gt;&lt;m_msothmcolidx val=&quot;0&quot;/&gt;&lt;m_rgb r=&quot;FF&quot; g=&quot;F5&quot; b=&quot;40&quot;/&gt;&lt;m_nBrightness endver=&quot;26206&quot; val=&quot;0&quot;/&gt;&lt;/elem&gt;&lt;elem m_fUsage=&quot;2.21853123446226355511E-03&quot;&gt;&lt;m_msothmcolidx val=&quot;0&quot;/&gt;&lt;m_rgb r=&quot;E8&quot; g=&quot;E9&quot; b=&quot;EA&quot;/&gt;&lt;m_nBrightness endver=&quot;26206&quot; val=&quot;0&quot;/&gt;&lt;/elem&gt;&lt;elem m_fUsage=&quot;1.99667811101603706950E-03&quot;&gt;&lt;m_msothmcolidx val=&quot;0&quot;/&gt;&lt;m_rgb r=&quot;E2&quot; g=&quot;76&quot; b=&quot;79&quot;/&gt;&lt;m_nBrightness endver=&quot;26206&quot; val=&quot;0&quot;/&gt;&lt;/elem&gt;&lt;elem m_fUsage=&quot;1.61730926992299014339E-03&quot;&gt;&lt;m_msothmcolidx val=&quot;0&quot;/&gt;&lt;m_rgb r=&quot;A2&quot; g=&quot;BB&quot; b=&quot;DC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pqmRfjJbWgNnvR_5.9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ИЦ Академия_краткий обзор_20200429</Template>
  <TotalTime>44752</TotalTime>
  <Words>2876</Words>
  <Application>Microsoft Office PowerPoint</Application>
  <PresentationFormat>Широкоэкранный</PresentationFormat>
  <Paragraphs>591</Paragraphs>
  <Slides>83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3</vt:i4>
      </vt:variant>
    </vt:vector>
  </HeadingPairs>
  <TitlesOfParts>
    <vt:vector size="94" baseType="lpstr">
      <vt:lpstr>ＭＳ Ｐゴシック</vt:lpstr>
      <vt:lpstr>Arial</vt:lpstr>
      <vt:lpstr>Calibri</vt:lpstr>
      <vt:lpstr>Calibri Light</vt:lpstr>
      <vt:lpstr>Century Gothic</vt:lpstr>
      <vt:lpstr>Open Sans Light</vt:lpstr>
      <vt:lpstr>Times</vt:lpstr>
      <vt:lpstr>Times New Roman</vt:lpstr>
      <vt:lpstr>Wingdings</vt:lpstr>
      <vt:lpstr>Drofa</vt:lpstr>
      <vt:lpstr>Слайд think-cell</vt:lpstr>
      <vt:lpstr>"Потенциал использования метода "управляемых открытий" в рамках формирования и развития навыков 21 века при преподавании иностранного языка"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ссоциации</vt:lpstr>
      <vt:lpstr>Ассоци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етод управляемых открытий (индуктивный подход) (Guided Discovery)</vt:lpstr>
      <vt:lpstr>Обучение</vt:lpstr>
      <vt:lpstr>Скажи мне — и я забуду, покажи мне — и я запомню,  дай мне сделать — и я пойму. (Конфуций)</vt:lpstr>
      <vt:lpstr>Презентация PowerPoint</vt:lpstr>
      <vt:lpstr>Индуктивное обучение</vt:lpstr>
      <vt:lpstr>Индуктивное обучение</vt:lpstr>
      <vt:lpstr>Study these two sets of sentences:</vt:lpstr>
      <vt:lpstr>Choose for or since to complete the sentences:</vt:lpstr>
      <vt:lpstr>Choose for or since to complete the sentences:</vt:lpstr>
      <vt:lpstr>Презентация PowerPoint</vt:lpstr>
      <vt:lpstr>Презентация PowerPoint</vt:lpstr>
      <vt:lpstr>Презентация PowerPoint</vt:lpstr>
      <vt:lpstr>Учатся не придерживаться только очевидного факта </vt:lpstr>
      <vt:lpstr>Find the rule</vt:lpstr>
      <vt:lpstr>Презентация PowerPoint</vt:lpstr>
      <vt:lpstr>Презентация PowerPoint</vt:lpstr>
      <vt:lpstr>«Погружение в языковую среду», активизация всех каналов восприятия информации</vt:lpstr>
      <vt:lpstr>Find the rule</vt:lpstr>
      <vt:lpstr>Презентация PowerPoint</vt:lpstr>
      <vt:lpstr>Now apply the rule </vt:lpstr>
      <vt:lpstr>Now apply the rule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бучение</vt:lpstr>
      <vt:lpstr>Синквейн</vt:lpstr>
      <vt:lpstr>Синквейн</vt:lpstr>
      <vt:lpstr>Презентация PowerPoint</vt:lpstr>
      <vt:lpstr>Презентация PowerPoint</vt:lpstr>
      <vt:lpstr>Обратная связь</vt:lpstr>
      <vt:lpstr>Спасибо 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</dc:title>
  <dc:creator>Маркетинг</dc:creator>
  <cp:lastModifiedBy>Каташук Валентина Николаевна</cp:lastModifiedBy>
  <cp:revision>2602</cp:revision>
  <cp:lastPrinted>2020-03-17T12:28:23Z</cp:lastPrinted>
  <dcterms:created xsi:type="dcterms:W3CDTF">2011-07-04T10:53:52Z</dcterms:created>
  <dcterms:modified xsi:type="dcterms:W3CDTF">2021-05-26T09:05:32Z</dcterms:modified>
</cp:coreProperties>
</file>